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19" r:id="rId5"/>
  </p:sldMasterIdLst>
  <p:notesMasterIdLst>
    <p:notesMasterId r:id="rId29"/>
  </p:notesMasterIdLst>
  <p:sldIdLst>
    <p:sldId id="257" r:id="rId6"/>
    <p:sldId id="537" r:id="rId7"/>
    <p:sldId id="451" r:id="rId8"/>
    <p:sldId id="455" r:id="rId9"/>
    <p:sldId id="456" r:id="rId10"/>
    <p:sldId id="457" r:id="rId11"/>
    <p:sldId id="460" r:id="rId12"/>
    <p:sldId id="461" r:id="rId13"/>
    <p:sldId id="462" r:id="rId14"/>
    <p:sldId id="458" r:id="rId15"/>
    <p:sldId id="463" r:id="rId16"/>
    <p:sldId id="464" r:id="rId17"/>
    <p:sldId id="465" r:id="rId18"/>
    <p:sldId id="466" r:id="rId19"/>
    <p:sldId id="467" r:id="rId20"/>
    <p:sldId id="468" r:id="rId21"/>
    <p:sldId id="469" r:id="rId22"/>
    <p:sldId id="470" r:id="rId23"/>
    <p:sldId id="471" r:id="rId24"/>
    <p:sldId id="472" r:id="rId25"/>
    <p:sldId id="473" r:id="rId26"/>
    <p:sldId id="407" r:id="rId27"/>
    <p:sldId id="536" r:id="rId28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EC7D8C1-6B00-4C33-9016-353EA8414779}">
          <p14:sldIdLst>
            <p14:sldId id="257"/>
          </p14:sldIdLst>
        </p14:section>
        <p14:section name="I.Mambu Partner Academy" id="{A3BE924E-BBBE-49CA-96CD-25BCD0BE3A5C}">
          <p14:sldIdLst>
            <p14:sldId id="537"/>
            <p14:sldId id="451"/>
            <p14:sldId id="455"/>
            <p14:sldId id="456"/>
            <p14:sldId id="457"/>
            <p14:sldId id="460"/>
            <p14:sldId id="461"/>
            <p14:sldId id="462"/>
            <p14:sldId id="458"/>
            <p14:sldId id="463"/>
            <p14:sldId id="464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  <p14:sldId id="473"/>
          </p14:sldIdLst>
        </p14:section>
        <p14:section name="More Mambu" id="{1FAB5C6B-A1DD-4F09-8666-6C21DD8E7810}">
          <p14:sldIdLst>
            <p14:sldId id="407"/>
            <p14:sldId id="53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227F77"/>
    <a:srgbClr val="B1B1B1"/>
    <a:srgbClr val="388E5A"/>
    <a:srgbClr val="E4E4E4"/>
    <a:srgbClr val="F3FCFF"/>
    <a:srgbClr val="F5FAFD"/>
    <a:srgbClr val="A6A6A6"/>
    <a:srgbClr val="80BA17"/>
    <a:srgbClr val="3EB4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04277B-AB5D-43D6-A608-DDB5A5AAB687}" v="3" dt="2022-05-13T09:32:32.9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fonso, Margarida de Almeida" userId="S::margafonso@deloitte.pt::fd20df5b-6f0c-4d4d-95bc-c8376e550ad9" providerId="AD" clId="Web-{5B04277B-AB5D-43D6-A608-DDB5A5AAB687}"/>
    <pc:docChg chg="modSld">
      <pc:chgData name="Afonso, Margarida de Almeida" userId="S::margafonso@deloitte.pt::fd20df5b-6f0c-4d4d-95bc-c8376e550ad9" providerId="AD" clId="Web-{5B04277B-AB5D-43D6-A608-DDB5A5AAB687}" dt="2022-05-13T09:32:32.998" v="2" actId="1076"/>
      <pc:docMkLst>
        <pc:docMk/>
      </pc:docMkLst>
      <pc:sldChg chg="modSp">
        <pc:chgData name="Afonso, Margarida de Almeida" userId="S::margafonso@deloitte.pt::fd20df5b-6f0c-4d4d-95bc-c8376e550ad9" providerId="AD" clId="Web-{5B04277B-AB5D-43D6-A608-DDB5A5AAB687}" dt="2022-05-13T09:32:32.998" v="2" actId="1076"/>
        <pc:sldMkLst>
          <pc:docMk/>
          <pc:sldMk cId="2507694825" sldId="463"/>
        </pc:sldMkLst>
        <pc:grpChg chg="mod">
          <ac:chgData name="Afonso, Margarida de Almeida" userId="S::margafonso@deloitte.pt::fd20df5b-6f0c-4d4d-95bc-c8376e550ad9" providerId="AD" clId="Web-{5B04277B-AB5D-43D6-A608-DDB5A5AAB687}" dt="2022-05-13T09:32:32.998" v="2" actId="1076"/>
          <ac:grpSpMkLst>
            <pc:docMk/>
            <pc:sldMk cId="2507694825" sldId="463"/>
            <ac:grpSpMk id="47" creationId="{79977A66-53A1-4A86-9372-1BFE5D671BDE}"/>
          </ac:grpSpMkLst>
        </pc:gr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8ED72A-B059-475B-82B9-BBBB5904FAD2}" type="datetimeFigureOut">
              <a:rPr lang="pt-PT" smtClean="0"/>
              <a:t>13/05/2022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0E2F30-543E-41F1-919E-B9BEC033AD41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15936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p1:notes"/>
          <p:cNvSpPr txBox="1">
            <a:spLocks noGrp="1"/>
          </p:cNvSpPr>
          <p:nvPr>
            <p:ph type="body" idx="1"/>
          </p:nvPr>
        </p:nvSpPr>
        <p:spPr>
          <a:xfrm>
            <a:off x="2010400" y="5371925"/>
            <a:ext cx="16083301" cy="50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55" name="Google Shape;85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283325" y="847725"/>
            <a:ext cx="7539038" cy="42418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259358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238584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890038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781906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665492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863684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23619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917309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083025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1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963774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3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2503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2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784699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2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876919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2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28731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918807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52266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22920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8607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85829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072030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51179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hilosophy cream">
  <p:cSld name="philosophy cream">
    <p:bg>
      <p:bgPr>
        <a:solidFill>
          <a:srgbClr val="F6EAE0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59"/>
          <p:cNvPicPr preferRelativeResize="0"/>
          <p:nvPr/>
        </p:nvPicPr>
        <p:blipFill rotWithShape="1">
          <a:blip r:embed="rId2">
            <a:alphaModFix/>
          </a:blip>
          <a:srcRect l="21684" t="32946" b="-9265"/>
          <a:stretch/>
        </p:blipFill>
        <p:spPr>
          <a:xfrm rot="5400000" flipH="1">
            <a:off x="8315806" y="3031865"/>
            <a:ext cx="5469145" cy="2283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16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44212" y="3442477"/>
            <a:ext cx="3670560" cy="34155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2730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slide white">
  <p:cSld name="Diagram slide white">
    <p:bg>
      <p:bgPr>
        <a:solidFill>
          <a:schemeClr val="lt1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35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0" name="Google Shape;90;p35"/>
          <p:cNvPicPr preferRelativeResize="0"/>
          <p:nvPr/>
        </p:nvPicPr>
        <p:blipFill rotWithShape="1">
          <a:blip r:embed="rId2">
            <a:alphaModFix/>
          </a:blip>
          <a:srcRect t="5750" b="45552"/>
          <a:stretch/>
        </p:blipFill>
        <p:spPr>
          <a:xfrm>
            <a:off x="5951561" y="4395315"/>
            <a:ext cx="5851209" cy="2462685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35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35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99905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dark slide">
  <p:cSld name="Diagram dark slide">
    <p:bg>
      <p:bgPr>
        <a:solidFill>
          <a:srgbClr val="212121"/>
        </a:solidFill>
        <a:effectLst/>
      </p:bgPr>
    </p:bg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6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5" name="Google Shape;95;p36"/>
          <p:cNvPicPr preferRelativeResize="0"/>
          <p:nvPr/>
        </p:nvPicPr>
        <p:blipFill rotWithShape="1">
          <a:blip r:embed="rId2">
            <a:alphaModFix/>
          </a:blip>
          <a:srcRect t="34734" r="2151" b="32250"/>
          <a:stretch/>
        </p:blipFill>
        <p:spPr>
          <a:xfrm>
            <a:off x="6466841" y="4593851"/>
            <a:ext cx="5725160" cy="2264149"/>
          </a:xfrm>
          <a:prstGeom prst="rect">
            <a:avLst/>
          </a:prstGeom>
          <a:noFill/>
          <a:ln>
            <a:noFill/>
          </a:ln>
        </p:spPr>
      </p:pic>
      <p:pic>
        <p:nvPicPr>
          <p:cNvPr id="96" name="Google Shape;96;p3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97" name="Google Shape;97;p36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779290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pointer dark slide">
  <p:cSld name="Diagram pointer dark slide">
    <p:bg>
      <p:bgPr>
        <a:solidFill>
          <a:srgbClr val="212121"/>
        </a:solidFill>
        <a:effectLst/>
      </p:bgPr>
    </p:bg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37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0" name="Google Shape;100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1" name="Google Shape;101;p37"/>
          <p:cNvPicPr preferRelativeResize="0"/>
          <p:nvPr/>
        </p:nvPicPr>
        <p:blipFill rotWithShape="1">
          <a:blip r:embed="rId3">
            <a:alphaModFix/>
          </a:blip>
          <a:srcRect l="-1372" t="9537" r="36335" b="54662"/>
          <a:stretch/>
        </p:blipFill>
        <p:spPr>
          <a:xfrm>
            <a:off x="6737345" y="4324731"/>
            <a:ext cx="5485783" cy="2533392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37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377827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pointer white slide">
  <p:cSld name="Diagram pointer white slide">
    <p:bg>
      <p:bgPr>
        <a:solidFill>
          <a:schemeClr val="lt1"/>
        </a:solidFill>
        <a:effectLst/>
      </p:bgPr>
    </p:bg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38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106;p38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975227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pointer outline dark slide">
  <p:cSld name="Diagram pointer outline dark slide">
    <p:bg>
      <p:bgPr>
        <a:solidFill>
          <a:srgbClr val="212121"/>
        </a:solidFill>
        <a:effectLst/>
      </p:bgPr>
    </p:bg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39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9" name="Google Shape;109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" name="Google Shape;110;p39"/>
          <p:cNvPicPr preferRelativeResize="0"/>
          <p:nvPr/>
        </p:nvPicPr>
        <p:blipFill rotWithShape="1">
          <a:blip r:embed="rId3">
            <a:alphaModFix/>
          </a:blip>
          <a:srcRect t="34734" r="2151" b="32250"/>
          <a:stretch/>
        </p:blipFill>
        <p:spPr>
          <a:xfrm>
            <a:off x="6466841" y="4593851"/>
            <a:ext cx="5725160" cy="2264149"/>
          </a:xfrm>
          <a:prstGeom prst="rect">
            <a:avLst/>
          </a:prstGeom>
          <a:noFill/>
          <a:ln>
            <a:noFill/>
          </a:ln>
        </p:spPr>
      </p:pic>
      <p:sp>
        <p:nvSpPr>
          <p:cNvPr id="111" name="Google Shape;111;p39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78440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 background">
  <p:cSld name="Dark background">
    <p:bg>
      <p:bgPr>
        <a:solidFill>
          <a:srgbClr val="212121"/>
        </a:solidFill>
        <a:effectLst/>
      </p:bgPr>
    </p:bg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Google Shape;113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79668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dient background">
  <p:cSld name="Blue gradient background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700006" scaled="0"/>
        </a:gradFill>
        <a:effectLst/>
      </p:bgPr>
    </p:bg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41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6" name="Google Shape;116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0982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een gradient background">
  <p:cSld name="Green gradient background">
    <p:bg>
      <p:bgPr>
        <a:gradFill>
          <a:gsLst>
            <a:gs pos="0">
              <a:srgbClr val="3FB95B"/>
            </a:gs>
            <a:gs pos="100000">
              <a:srgbClr val="251E59"/>
            </a:gs>
          </a:gsLst>
          <a:lin ang="2698631" scaled="0"/>
        </a:gradFill>
        <a:effectLst/>
      </p:bgPr>
    </p:bg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42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9" name="Google Shape;119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46731" y="605007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72494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gine white slide" type="tx">
  <p:cSld name="Engine white slide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43"/>
          <p:cNvSpPr/>
          <p:nvPr/>
        </p:nvSpPr>
        <p:spPr>
          <a:xfrm>
            <a:off x="16664" y="2658973"/>
            <a:ext cx="21517" cy="3441"/>
          </a:xfrm>
          <a:custGeom>
            <a:avLst/>
            <a:gdLst/>
            <a:ahLst/>
            <a:cxnLst/>
            <a:rect l="l" t="t" r="r" b="b"/>
            <a:pathLst>
              <a:path w="31750" h="5079" extrusionOk="0">
                <a:moveTo>
                  <a:pt x="31307" y="0"/>
                </a:moveTo>
                <a:lnTo>
                  <a:pt x="0" y="2533"/>
                </a:lnTo>
                <a:lnTo>
                  <a:pt x="31328" y="4816"/>
                </a:lnTo>
              </a:path>
            </a:pathLst>
          </a:custGeom>
          <a:noFill/>
          <a:ln w="9525" cap="flat" cmpd="sng">
            <a:solidFill>
              <a:srgbClr val="662C9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19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" name="Google Shape;122;p43"/>
          <p:cNvSpPr/>
          <p:nvPr/>
        </p:nvSpPr>
        <p:spPr>
          <a:xfrm>
            <a:off x="12171737" y="2603757"/>
            <a:ext cx="19719" cy="20216"/>
          </a:xfrm>
          <a:custGeom>
            <a:avLst/>
            <a:gdLst/>
            <a:ahLst/>
            <a:cxnLst/>
            <a:rect l="l" t="t" r="r" b="b"/>
            <a:pathLst>
              <a:path w="31115" h="31750" extrusionOk="0">
                <a:moveTo>
                  <a:pt x="0" y="26983"/>
                </a:moveTo>
                <a:lnTo>
                  <a:pt x="31109" y="31412"/>
                </a:lnTo>
                <a:lnTo>
                  <a:pt x="31109" y="0"/>
                </a:lnTo>
              </a:path>
            </a:pathLst>
          </a:custGeom>
          <a:noFill/>
          <a:ln w="9525" cap="flat" cmpd="sng">
            <a:solidFill>
              <a:srgbClr val="662C9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19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43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4" name="Google Shape;124;p43"/>
          <p:cNvPicPr preferRelativeResize="0"/>
          <p:nvPr/>
        </p:nvPicPr>
        <p:blipFill rotWithShape="1">
          <a:blip r:embed="rId3">
            <a:alphaModFix/>
          </a:blip>
          <a:srcRect t="5750" b="45552"/>
          <a:stretch/>
        </p:blipFill>
        <p:spPr>
          <a:xfrm>
            <a:off x="6340792" y="4395315"/>
            <a:ext cx="5851209" cy="2462685"/>
          </a:xfrm>
          <a:prstGeom prst="rect">
            <a:avLst/>
          </a:prstGeom>
          <a:noFill/>
          <a:ln>
            <a:noFill/>
          </a:ln>
        </p:spPr>
      </p:pic>
      <p:sp>
        <p:nvSpPr>
          <p:cNvPr id="125" name="Google Shape;125;p43"/>
          <p:cNvSpPr txBox="1">
            <a:spLocks noGrp="1"/>
          </p:cNvSpPr>
          <p:nvPr>
            <p:ph type="title"/>
          </p:nvPr>
        </p:nvSpPr>
        <p:spPr>
          <a:xfrm>
            <a:off x="430060" y="1047678"/>
            <a:ext cx="3679413" cy="1959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43"/>
          <p:cNvSpPr txBox="1">
            <a:spLocks noGrp="1"/>
          </p:cNvSpPr>
          <p:nvPr>
            <p:ph type="body" idx="1"/>
          </p:nvPr>
        </p:nvSpPr>
        <p:spPr>
          <a:xfrm>
            <a:off x="525636" y="3194551"/>
            <a:ext cx="3153809" cy="23276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marL="609585" lvl="0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●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○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■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●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○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■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●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○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■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63645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gine dark slide">
  <p:cSld name="Engine dark slide">
    <p:bg>
      <p:bgPr>
        <a:solidFill>
          <a:srgbClr val="212121"/>
        </a:solidFill>
        <a:effectLst/>
      </p:bgPr>
    </p:bg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129" name="Google Shape;129;p44"/>
          <p:cNvSpPr txBox="1">
            <a:spLocks noGrp="1"/>
          </p:cNvSpPr>
          <p:nvPr>
            <p:ph type="body" idx="1"/>
          </p:nvPr>
        </p:nvSpPr>
        <p:spPr>
          <a:xfrm>
            <a:off x="525636" y="3194551"/>
            <a:ext cx="3153809" cy="23276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marL="609585" lvl="0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●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○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■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●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○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■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●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○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■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472622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est-for-Purpose partners v2">
  <p:cSld name="Best-for-Purpose partners v2">
    <p:bg>
      <p:bgPr>
        <a:solidFill>
          <a:schemeClr val="lt1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7"/>
          <p:cNvSpPr txBox="1">
            <a:spLocks noGrp="1"/>
          </p:cNvSpPr>
          <p:nvPr>
            <p:ph type="subTitle" idx="1"/>
          </p:nvPr>
        </p:nvSpPr>
        <p:spPr>
          <a:xfrm>
            <a:off x="554533" y="3146356"/>
            <a:ext cx="4039641" cy="2128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25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None/>
              <a:defRPr sz="1819">
                <a:solidFill>
                  <a:srgbClr val="212121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93817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re principels slide" type="twoColTx">
  <p:cSld name="Core principels slide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Google Shape;131;p45"/>
          <p:cNvPicPr preferRelativeResize="0"/>
          <p:nvPr/>
        </p:nvPicPr>
        <p:blipFill rotWithShape="1">
          <a:blip r:embed="rId2">
            <a:alphaModFix/>
          </a:blip>
          <a:srcRect l="374" t="708" r="42891" b="442"/>
          <a:stretch/>
        </p:blipFill>
        <p:spPr>
          <a:xfrm rot="10800000" flipH="1">
            <a:off x="9253752" y="2449011"/>
            <a:ext cx="2938249" cy="4424392"/>
          </a:xfrm>
          <a:prstGeom prst="rect">
            <a:avLst/>
          </a:prstGeom>
          <a:noFill/>
          <a:ln>
            <a:noFill/>
          </a:ln>
        </p:spPr>
      </p:pic>
      <p:sp>
        <p:nvSpPr>
          <p:cNvPr id="132" name="Google Shape;132;p45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" name="Google Shape;133;p45"/>
          <p:cNvSpPr txBox="1">
            <a:spLocks noGrp="1"/>
          </p:cNvSpPr>
          <p:nvPr>
            <p:ph type="subTitle" idx="1"/>
          </p:nvPr>
        </p:nvSpPr>
        <p:spPr>
          <a:xfrm>
            <a:off x="656641" y="4498479"/>
            <a:ext cx="2858896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34" name="Google Shape;134;p45"/>
          <p:cNvSpPr txBox="1">
            <a:spLocks noGrp="1"/>
          </p:cNvSpPr>
          <p:nvPr>
            <p:ph type="body" idx="2"/>
          </p:nvPr>
        </p:nvSpPr>
        <p:spPr>
          <a:xfrm>
            <a:off x="656642" y="4894202"/>
            <a:ext cx="2651492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35" name="Google Shape;135;p45"/>
          <p:cNvSpPr txBox="1">
            <a:spLocks noGrp="1"/>
          </p:cNvSpPr>
          <p:nvPr>
            <p:ph type="subTitle" idx="3"/>
          </p:nvPr>
        </p:nvSpPr>
        <p:spPr>
          <a:xfrm>
            <a:off x="3940412" y="4498479"/>
            <a:ext cx="2858896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36" name="Google Shape;136;p45"/>
          <p:cNvSpPr txBox="1">
            <a:spLocks noGrp="1"/>
          </p:cNvSpPr>
          <p:nvPr>
            <p:ph type="body" idx="4"/>
          </p:nvPr>
        </p:nvSpPr>
        <p:spPr>
          <a:xfrm>
            <a:off x="3940412" y="4894202"/>
            <a:ext cx="3589357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37" name="Google Shape;137;p45"/>
          <p:cNvSpPr txBox="1">
            <a:spLocks noGrp="1"/>
          </p:cNvSpPr>
          <p:nvPr>
            <p:ph type="subTitle" idx="5"/>
          </p:nvPr>
        </p:nvSpPr>
        <p:spPr>
          <a:xfrm>
            <a:off x="7954643" y="4498479"/>
            <a:ext cx="2858896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38" name="Google Shape;138;p45"/>
          <p:cNvSpPr txBox="1">
            <a:spLocks noGrp="1"/>
          </p:cNvSpPr>
          <p:nvPr>
            <p:ph type="body" idx="6"/>
          </p:nvPr>
        </p:nvSpPr>
        <p:spPr>
          <a:xfrm>
            <a:off x="7954643" y="4894202"/>
            <a:ext cx="3589357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39" name="Google Shape;139;p45"/>
          <p:cNvSpPr txBox="1">
            <a:spLocks noGrp="1"/>
          </p:cNvSpPr>
          <p:nvPr>
            <p:ph type="subTitle" idx="7"/>
          </p:nvPr>
        </p:nvSpPr>
        <p:spPr>
          <a:xfrm>
            <a:off x="7954643" y="1928249"/>
            <a:ext cx="2858896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40" name="Google Shape;140;p45"/>
          <p:cNvSpPr txBox="1">
            <a:spLocks noGrp="1"/>
          </p:cNvSpPr>
          <p:nvPr>
            <p:ph type="body" idx="8"/>
          </p:nvPr>
        </p:nvSpPr>
        <p:spPr>
          <a:xfrm>
            <a:off x="7954643" y="2323971"/>
            <a:ext cx="3589357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577508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exible and agile white">
  <p:cSld name="Flexible and agile white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46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46"/>
          <p:cNvSpPr txBox="1">
            <a:spLocks noGrp="1"/>
          </p:cNvSpPr>
          <p:nvPr>
            <p:ph type="title"/>
          </p:nvPr>
        </p:nvSpPr>
        <p:spPr>
          <a:xfrm>
            <a:off x="819215" y="1303761"/>
            <a:ext cx="5900816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46"/>
          <p:cNvSpPr txBox="1">
            <a:spLocks noGrp="1"/>
          </p:cNvSpPr>
          <p:nvPr>
            <p:ph type="subTitle" idx="1"/>
          </p:nvPr>
        </p:nvSpPr>
        <p:spPr>
          <a:xfrm>
            <a:off x="819213" y="299700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47" name="Google Shape;147;p46"/>
          <p:cNvSpPr txBox="1">
            <a:spLocks noGrp="1"/>
          </p:cNvSpPr>
          <p:nvPr>
            <p:ph type="body" idx="2"/>
          </p:nvPr>
        </p:nvSpPr>
        <p:spPr>
          <a:xfrm>
            <a:off x="819213" y="3392738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48" name="Google Shape;148;p46"/>
          <p:cNvSpPr txBox="1">
            <a:spLocks noGrp="1"/>
          </p:cNvSpPr>
          <p:nvPr>
            <p:ph type="subTitle" idx="3"/>
          </p:nvPr>
        </p:nvSpPr>
        <p:spPr>
          <a:xfrm>
            <a:off x="819213" y="475289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49" name="Google Shape;149;p46"/>
          <p:cNvSpPr txBox="1">
            <a:spLocks noGrp="1"/>
          </p:cNvSpPr>
          <p:nvPr>
            <p:ph type="body" idx="4"/>
          </p:nvPr>
        </p:nvSpPr>
        <p:spPr>
          <a:xfrm>
            <a:off x="819213" y="5148624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50" name="Google Shape;150;p46"/>
          <p:cNvSpPr txBox="1">
            <a:spLocks noGrp="1"/>
          </p:cNvSpPr>
          <p:nvPr>
            <p:ph type="subTitle" idx="5"/>
          </p:nvPr>
        </p:nvSpPr>
        <p:spPr>
          <a:xfrm>
            <a:off x="3816012" y="299700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51" name="Google Shape;151;p46"/>
          <p:cNvSpPr txBox="1">
            <a:spLocks noGrp="1"/>
          </p:cNvSpPr>
          <p:nvPr>
            <p:ph type="body" idx="6"/>
          </p:nvPr>
        </p:nvSpPr>
        <p:spPr>
          <a:xfrm>
            <a:off x="3816012" y="3392738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52" name="Google Shape;152;p46"/>
          <p:cNvSpPr txBox="1">
            <a:spLocks noGrp="1"/>
          </p:cNvSpPr>
          <p:nvPr>
            <p:ph type="subTitle" idx="7"/>
          </p:nvPr>
        </p:nvSpPr>
        <p:spPr>
          <a:xfrm>
            <a:off x="3816012" y="475289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53" name="Google Shape;153;p46"/>
          <p:cNvSpPr txBox="1">
            <a:spLocks noGrp="1"/>
          </p:cNvSpPr>
          <p:nvPr>
            <p:ph type="body" idx="8"/>
          </p:nvPr>
        </p:nvSpPr>
        <p:spPr>
          <a:xfrm>
            <a:off x="3816012" y="5148624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944929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pporting systems slide">
  <p:cSld name="Supporting systems slide">
    <p:bg>
      <p:bgPr>
        <a:gradFill>
          <a:gsLst>
            <a:gs pos="0">
              <a:srgbClr val="3FB95B"/>
            </a:gs>
            <a:gs pos="100000">
              <a:srgbClr val="251E59"/>
            </a:gs>
          </a:gsLst>
          <a:lin ang="2698631" scaled="0"/>
        </a:gradFill>
        <a:effectLst/>
      </p:bgPr>
    </p:bg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Google Shape;155;p47"/>
          <p:cNvPicPr preferRelativeResize="0"/>
          <p:nvPr/>
        </p:nvPicPr>
        <p:blipFill rotWithShape="1">
          <a:blip r:embed="rId2">
            <a:alphaModFix/>
          </a:blip>
          <a:srcRect t="31365"/>
          <a:stretch/>
        </p:blipFill>
        <p:spPr>
          <a:xfrm>
            <a:off x="0" y="1"/>
            <a:ext cx="6270261" cy="318102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6" name="Google Shape;156;p47"/>
          <p:cNvGrpSpPr/>
          <p:nvPr/>
        </p:nvGrpSpPr>
        <p:grpSpPr>
          <a:xfrm>
            <a:off x="235399" y="234005"/>
            <a:ext cx="909783" cy="195959"/>
            <a:chOff x="388140" y="385909"/>
            <a:chExt cx="2335658" cy="503114"/>
          </a:xfrm>
        </p:grpSpPr>
        <p:sp>
          <p:nvSpPr>
            <p:cNvPr id="157" name="Google Shape;157;p47"/>
            <p:cNvSpPr/>
            <p:nvPr/>
          </p:nvSpPr>
          <p:spPr>
            <a:xfrm>
              <a:off x="2234208" y="482226"/>
              <a:ext cx="189230" cy="301625"/>
            </a:xfrm>
            <a:custGeom>
              <a:avLst/>
              <a:gdLst/>
              <a:ahLst/>
              <a:cxnLst/>
              <a:rect l="l" t="t" r="r" b="b"/>
              <a:pathLst>
                <a:path w="189230" h="301625" extrusionOk="0">
                  <a:moveTo>
                    <a:pt x="98740" y="0"/>
                  </a:moveTo>
                  <a:lnTo>
                    <a:pt x="22585" y="0"/>
                  </a:lnTo>
                  <a:lnTo>
                    <a:pt x="13795" y="1775"/>
                  </a:lnTo>
                  <a:lnTo>
                    <a:pt x="6616" y="6616"/>
                  </a:lnTo>
                  <a:lnTo>
                    <a:pt x="1775" y="13795"/>
                  </a:lnTo>
                  <a:lnTo>
                    <a:pt x="35" y="22410"/>
                  </a:lnTo>
                  <a:lnTo>
                    <a:pt x="0" y="298682"/>
                  </a:lnTo>
                  <a:lnTo>
                    <a:pt x="2649" y="301341"/>
                  </a:lnTo>
                  <a:lnTo>
                    <a:pt x="101284" y="301341"/>
                  </a:lnTo>
                  <a:lnTo>
                    <a:pt x="137374" y="295196"/>
                  </a:lnTo>
                  <a:lnTo>
                    <a:pt x="164959" y="277723"/>
                  </a:lnTo>
                  <a:lnTo>
                    <a:pt x="170486" y="269143"/>
                  </a:lnTo>
                  <a:lnTo>
                    <a:pt x="102206" y="269143"/>
                  </a:lnTo>
                  <a:lnTo>
                    <a:pt x="32574" y="268997"/>
                  </a:lnTo>
                  <a:lnTo>
                    <a:pt x="32574" y="161293"/>
                  </a:lnTo>
                  <a:lnTo>
                    <a:pt x="168430" y="161293"/>
                  </a:lnTo>
                  <a:lnTo>
                    <a:pt x="165583" y="157499"/>
                  </a:lnTo>
                  <a:lnTo>
                    <a:pt x="148435" y="143524"/>
                  </a:lnTo>
                  <a:lnTo>
                    <a:pt x="162000" y="130721"/>
                  </a:lnTo>
                  <a:lnTo>
                    <a:pt x="162682" y="129702"/>
                  </a:lnTo>
                  <a:lnTo>
                    <a:pt x="32616" y="129702"/>
                  </a:lnTo>
                  <a:lnTo>
                    <a:pt x="32616" y="29716"/>
                  </a:lnTo>
                  <a:lnTo>
                    <a:pt x="162581" y="29716"/>
                  </a:lnTo>
                  <a:lnTo>
                    <a:pt x="157851" y="22410"/>
                  </a:lnTo>
                  <a:lnTo>
                    <a:pt x="132085" y="5864"/>
                  </a:lnTo>
                  <a:lnTo>
                    <a:pt x="98740" y="0"/>
                  </a:lnTo>
                  <a:close/>
                </a:path>
                <a:path w="189230" h="301625" extrusionOk="0">
                  <a:moveTo>
                    <a:pt x="168430" y="161293"/>
                  </a:moveTo>
                  <a:lnTo>
                    <a:pt x="32574" y="161293"/>
                  </a:lnTo>
                  <a:lnTo>
                    <a:pt x="95065" y="161450"/>
                  </a:lnTo>
                  <a:lnTo>
                    <a:pt x="119672" y="165601"/>
                  </a:lnTo>
                  <a:lnTo>
                    <a:pt x="139557" y="176989"/>
                  </a:lnTo>
                  <a:lnTo>
                    <a:pt x="152855" y="194015"/>
                  </a:lnTo>
                  <a:lnTo>
                    <a:pt x="157702" y="215082"/>
                  </a:lnTo>
                  <a:lnTo>
                    <a:pt x="154063" y="238243"/>
                  </a:lnTo>
                  <a:lnTo>
                    <a:pt x="143375" y="255192"/>
                  </a:lnTo>
                  <a:lnTo>
                    <a:pt x="125976" y="265601"/>
                  </a:lnTo>
                  <a:lnTo>
                    <a:pt x="102206" y="269143"/>
                  </a:lnTo>
                  <a:lnTo>
                    <a:pt x="170486" y="269143"/>
                  </a:lnTo>
                  <a:lnTo>
                    <a:pt x="182581" y="250369"/>
                  </a:lnTo>
                  <a:lnTo>
                    <a:pt x="188779" y="214579"/>
                  </a:lnTo>
                  <a:lnTo>
                    <a:pt x="186090" y="193589"/>
                  </a:lnTo>
                  <a:lnTo>
                    <a:pt x="178247" y="174375"/>
                  </a:lnTo>
                  <a:lnTo>
                    <a:pt x="168430" y="161293"/>
                  </a:lnTo>
                  <a:close/>
                </a:path>
                <a:path w="189230" h="301625" extrusionOk="0">
                  <a:moveTo>
                    <a:pt x="162581" y="29716"/>
                  </a:moveTo>
                  <a:lnTo>
                    <a:pt x="99546" y="29716"/>
                  </a:lnTo>
                  <a:lnTo>
                    <a:pt x="120723" y="33008"/>
                  </a:lnTo>
                  <a:lnTo>
                    <a:pt x="136224" y="42680"/>
                  </a:lnTo>
                  <a:lnTo>
                    <a:pt x="145748" y="58425"/>
                  </a:lnTo>
                  <a:lnTo>
                    <a:pt x="148990" y="79934"/>
                  </a:lnTo>
                  <a:lnTo>
                    <a:pt x="144575" y="99487"/>
                  </a:lnTo>
                  <a:lnTo>
                    <a:pt x="132464" y="115287"/>
                  </a:lnTo>
                  <a:lnTo>
                    <a:pt x="114357" y="125852"/>
                  </a:lnTo>
                  <a:lnTo>
                    <a:pt x="91955" y="129702"/>
                  </a:lnTo>
                  <a:lnTo>
                    <a:pt x="162682" y="129702"/>
                  </a:lnTo>
                  <a:lnTo>
                    <a:pt x="172018" y="115756"/>
                  </a:lnTo>
                  <a:lnTo>
                    <a:pt x="178223" y="99113"/>
                  </a:lnTo>
                  <a:lnTo>
                    <a:pt x="180350" y="81275"/>
                  </a:lnTo>
                  <a:lnTo>
                    <a:pt x="174463" y="48070"/>
                  </a:lnTo>
                  <a:lnTo>
                    <a:pt x="162581" y="29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158;p47"/>
            <p:cNvSpPr/>
            <p:nvPr/>
          </p:nvSpPr>
          <p:spPr>
            <a:xfrm>
              <a:off x="1161674" y="482228"/>
              <a:ext cx="280034" cy="301625"/>
            </a:xfrm>
            <a:custGeom>
              <a:avLst/>
              <a:gdLst/>
              <a:ahLst/>
              <a:cxnLst/>
              <a:rect l="l" t="t" r="r" b="b"/>
              <a:pathLst>
                <a:path w="280034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0" y="300922"/>
                  </a:lnTo>
                  <a:lnTo>
                    <a:pt x="494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4" h="301625" extrusionOk="0">
                  <a:moveTo>
                    <a:pt x="270095" y="88971"/>
                  </a:moveTo>
                  <a:lnTo>
                    <a:pt x="236383" y="88971"/>
                  </a:lnTo>
                  <a:lnTo>
                    <a:pt x="23645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34" y="301425"/>
                  </a:lnTo>
                  <a:lnTo>
                    <a:pt x="279818" y="300922"/>
                  </a:lnTo>
                  <a:lnTo>
                    <a:pt x="279829" y="299791"/>
                  </a:lnTo>
                  <a:lnTo>
                    <a:pt x="270095" y="88971"/>
                  </a:lnTo>
                  <a:close/>
                </a:path>
                <a:path w="280034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15" y="93913"/>
                  </a:lnTo>
                  <a:lnTo>
                    <a:pt x="46189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47" y="301362"/>
                  </a:lnTo>
                  <a:lnTo>
                    <a:pt x="144396" y="299791"/>
                  </a:lnTo>
                  <a:lnTo>
                    <a:pt x="174769" y="230422"/>
                  </a:lnTo>
                  <a:lnTo>
                    <a:pt x="139977" y="230422"/>
                  </a:lnTo>
                  <a:lnTo>
                    <a:pt x="13907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4" h="301625" extrusionOk="0">
                  <a:moveTo>
                    <a:pt x="265513" y="0"/>
                  </a:moveTo>
                  <a:lnTo>
                    <a:pt x="252633" y="0"/>
                  </a:lnTo>
                  <a:lnTo>
                    <a:pt x="245657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9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5" y="88971"/>
                  </a:lnTo>
                  <a:lnTo>
                    <a:pt x="266039" y="1140"/>
                  </a:lnTo>
                  <a:lnTo>
                    <a:pt x="265994" y="460"/>
                  </a:lnTo>
                  <a:lnTo>
                    <a:pt x="2655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Google Shape;159;p47"/>
            <p:cNvSpPr/>
            <p:nvPr/>
          </p:nvSpPr>
          <p:spPr>
            <a:xfrm>
              <a:off x="1846406" y="482228"/>
              <a:ext cx="280035" cy="301625"/>
            </a:xfrm>
            <a:custGeom>
              <a:avLst/>
              <a:gdLst/>
              <a:ahLst/>
              <a:cxnLst/>
              <a:rect l="l" t="t" r="r" b="b"/>
              <a:pathLst>
                <a:path w="280035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2" y="300922"/>
                  </a:lnTo>
                  <a:lnTo>
                    <a:pt x="505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5" h="301625" extrusionOk="0">
                  <a:moveTo>
                    <a:pt x="270096" y="88971"/>
                  </a:moveTo>
                  <a:lnTo>
                    <a:pt x="236383" y="88971"/>
                  </a:lnTo>
                  <a:lnTo>
                    <a:pt x="23646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55" y="301425"/>
                  </a:lnTo>
                  <a:lnTo>
                    <a:pt x="279830" y="300922"/>
                  </a:lnTo>
                  <a:lnTo>
                    <a:pt x="279840" y="299791"/>
                  </a:lnTo>
                  <a:lnTo>
                    <a:pt x="270096" y="88971"/>
                  </a:lnTo>
                  <a:close/>
                </a:path>
                <a:path w="280035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25" y="93913"/>
                  </a:lnTo>
                  <a:lnTo>
                    <a:pt x="46200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58" y="301362"/>
                  </a:lnTo>
                  <a:lnTo>
                    <a:pt x="144385" y="299791"/>
                  </a:lnTo>
                  <a:lnTo>
                    <a:pt x="174762" y="230422"/>
                  </a:lnTo>
                  <a:lnTo>
                    <a:pt x="139977" y="230422"/>
                  </a:lnTo>
                  <a:lnTo>
                    <a:pt x="13908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5" h="301625" extrusionOk="0">
                  <a:moveTo>
                    <a:pt x="265523" y="0"/>
                  </a:moveTo>
                  <a:lnTo>
                    <a:pt x="252633" y="0"/>
                  </a:lnTo>
                  <a:lnTo>
                    <a:pt x="245661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2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6" y="88971"/>
                  </a:lnTo>
                  <a:lnTo>
                    <a:pt x="266005" y="460"/>
                  </a:lnTo>
                  <a:lnTo>
                    <a:pt x="2655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Google Shape;160;p47"/>
            <p:cNvSpPr/>
            <p:nvPr/>
          </p:nvSpPr>
          <p:spPr>
            <a:xfrm>
              <a:off x="1529433" y="482231"/>
              <a:ext cx="231139" cy="301625"/>
            </a:xfrm>
            <a:custGeom>
              <a:avLst/>
              <a:gdLst/>
              <a:ahLst/>
              <a:cxnLst/>
              <a:rect l="l" t="t" r="r" b="b"/>
              <a:pathLst>
                <a:path w="231139" h="301625" extrusionOk="0">
                  <a:moveTo>
                    <a:pt x="115326" y="0"/>
                  </a:moveTo>
                  <a:lnTo>
                    <a:pt x="79255" y="13210"/>
                  </a:lnTo>
                  <a:lnTo>
                    <a:pt x="59050" y="49820"/>
                  </a:lnTo>
                  <a:lnTo>
                    <a:pt x="0" y="300577"/>
                  </a:lnTo>
                  <a:lnTo>
                    <a:pt x="670" y="301425"/>
                  </a:lnTo>
                  <a:lnTo>
                    <a:pt x="33140" y="301435"/>
                  </a:lnTo>
                  <a:lnTo>
                    <a:pt x="33758" y="301435"/>
                  </a:lnTo>
                  <a:lnTo>
                    <a:pt x="34302" y="301006"/>
                  </a:lnTo>
                  <a:lnTo>
                    <a:pt x="59390" y="194643"/>
                  </a:lnTo>
                  <a:lnTo>
                    <a:pt x="205578" y="194643"/>
                  </a:lnTo>
                  <a:lnTo>
                    <a:pt x="197455" y="160162"/>
                  </a:lnTo>
                  <a:lnTo>
                    <a:pt x="67453" y="160162"/>
                  </a:lnTo>
                  <a:lnTo>
                    <a:pt x="92184" y="54239"/>
                  </a:lnTo>
                  <a:lnTo>
                    <a:pt x="95584" y="45323"/>
                  </a:lnTo>
                  <a:lnTo>
                    <a:pt x="100635" y="38826"/>
                  </a:lnTo>
                  <a:lnTo>
                    <a:pt x="107233" y="34872"/>
                  </a:lnTo>
                  <a:lnTo>
                    <a:pt x="115294" y="33538"/>
                  </a:lnTo>
                  <a:lnTo>
                    <a:pt x="165449" y="33538"/>
                  </a:lnTo>
                  <a:lnTo>
                    <a:pt x="163871" y="29264"/>
                  </a:lnTo>
                  <a:lnTo>
                    <a:pt x="151809" y="13739"/>
                  </a:lnTo>
                  <a:lnTo>
                    <a:pt x="135903" y="3807"/>
                  </a:lnTo>
                  <a:lnTo>
                    <a:pt x="116781" y="31"/>
                  </a:lnTo>
                  <a:lnTo>
                    <a:pt x="115326" y="0"/>
                  </a:lnTo>
                  <a:close/>
                </a:path>
                <a:path w="231139" h="301625" extrusionOk="0">
                  <a:moveTo>
                    <a:pt x="205578" y="194643"/>
                  </a:moveTo>
                  <a:lnTo>
                    <a:pt x="171146" y="194643"/>
                  </a:lnTo>
                  <a:lnTo>
                    <a:pt x="196698" y="301006"/>
                  </a:lnTo>
                  <a:lnTo>
                    <a:pt x="197219" y="301404"/>
                  </a:lnTo>
                  <a:lnTo>
                    <a:pt x="228956" y="301435"/>
                  </a:lnTo>
                  <a:lnTo>
                    <a:pt x="229856" y="301435"/>
                  </a:lnTo>
                  <a:lnTo>
                    <a:pt x="230516" y="300577"/>
                  </a:lnTo>
                  <a:lnTo>
                    <a:pt x="230328" y="299697"/>
                  </a:lnTo>
                  <a:lnTo>
                    <a:pt x="205578" y="194643"/>
                  </a:lnTo>
                  <a:close/>
                </a:path>
                <a:path w="231139" h="301625" extrusionOk="0">
                  <a:moveTo>
                    <a:pt x="165449" y="33538"/>
                  </a:moveTo>
                  <a:lnTo>
                    <a:pt x="115294" y="33538"/>
                  </a:lnTo>
                  <a:lnTo>
                    <a:pt x="116279" y="33559"/>
                  </a:lnTo>
                  <a:lnTo>
                    <a:pt x="123952" y="35114"/>
                  </a:lnTo>
                  <a:lnTo>
                    <a:pt x="130240" y="39132"/>
                  </a:lnTo>
                  <a:lnTo>
                    <a:pt x="135066" y="45533"/>
                  </a:lnTo>
                  <a:lnTo>
                    <a:pt x="138364" y="54291"/>
                  </a:lnTo>
                  <a:lnTo>
                    <a:pt x="163084" y="160162"/>
                  </a:lnTo>
                  <a:lnTo>
                    <a:pt x="197455" y="160162"/>
                  </a:lnTo>
                  <a:lnTo>
                    <a:pt x="171453" y="49799"/>
                  </a:lnTo>
                  <a:lnTo>
                    <a:pt x="165449" y="335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161;p47"/>
            <p:cNvSpPr/>
            <p:nvPr/>
          </p:nvSpPr>
          <p:spPr>
            <a:xfrm>
              <a:off x="2516788" y="482026"/>
              <a:ext cx="207010" cy="302895"/>
            </a:xfrm>
            <a:custGeom>
              <a:avLst/>
              <a:gdLst/>
              <a:ahLst/>
              <a:cxnLst/>
              <a:rect l="l" t="t" r="r" b="b"/>
              <a:pathLst>
                <a:path w="207010" h="302895" extrusionOk="0">
                  <a:moveTo>
                    <a:pt x="6020" y="20"/>
                  </a:moveTo>
                  <a:lnTo>
                    <a:pt x="659" y="31"/>
                  </a:lnTo>
                  <a:lnTo>
                    <a:pt x="125" y="544"/>
                  </a:lnTo>
                  <a:lnTo>
                    <a:pt x="0" y="199480"/>
                  </a:lnTo>
                  <a:lnTo>
                    <a:pt x="7095" y="242011"/>
                  </a:lnTo>
                  <a:lnTo>
                    <a:pt x="27699" y="274589"/>
                  </a:lnTo>
                  <a:lnTo>
                    <a:pt x="60269" y="295201"/>
                  </a:lnTo>
                  <a:lnTo>
                    <a:pt x="103358" y="302399"/>
                  </a:lnTo>
                  <a:lnTo>
                    <a:pt x="146015" y="295066"/>
                  </a:lnTo>
                  <a:lnTo>
                    <a:pt x="178618" y="274228"/>
                  </a:lnTo>
                  <a:lnTo>
                    <a:pt x="181363" y="269928"/>
                  </a:lnTo>
                  <a:lnTo>
                    <a:pt x="103347" y="269928"/>
                  </a:lnTo>
                  <a:lnTo>
                    <a:pt x="70907" y="263490"/>
                  </a:lnTo>
                  <a:lnTo>
                    <a:pt x="49461" y="246889"/>
                  </a:lnTo>
                  <a:lnTo>
                    <a:pt x="37616" y="224195"/>
                  </a:lnTo>
                  <a:lnTo>
                    <a:pt x="33977" y="199480"/>
                  </a:lnTo>
                  <a:lnTo>
                    <a:pt x="33977" y="19297"/>
                  </a:lnTo>
                  <a:lnTo>
                    <a:pt x="31171" y="11779"/>
                  </a:lnTo>
                  <a:lnTo>
                    <a:pt x="19172" y="816"/>
                  </a:lnTo>
                  <a:lnTo>
                    <a:pt x="11026" y="31"/>
                  </a:lnTo>
                  <a:lnTo>
                    <a:pt x="6020" y="31"/>
                  </a:lnTo>
                  <a:close/>
                </a:path>
                <a:path w="207010" h="302895" extrusionOk="0">
                  <a:moveTo>
                    <a:pt x="205962" y="20"/>
                  </a:moveTo>
                  <a:lnTo>
                    <a:pt x="172689" y="19297"/>
                  </a:lnTo>
                  <a:lnTo>
                    <a:pt x="172685" y="199480"/>
                  </a:lnTo>
                  <a:lnTo>
                    <a:pt x="169049" y="224195"/>
                  </a:lnTo>
                  <a:lnTo>
                    <a:pt x="157209" y="246889"/>
                  </a:lnTo>
                  <a:lnTo>
                    <a:pt x="135773" y="263490"/>
                  </a:lnTo>
                  <a:lnTo>
                    <a:pt x="103347" y="269928"/>
                  </a:lnTo>
                  <a:lnTo>
                    <a:pt x="181363" y="269928"/>
                  </a:lnTo>
                  <a:lnTo>
                    <a:pt x="199443" y="241605"/>
                  </a:lnTo>
                  <a:lnTo>
                    <a:pt x="206768" y="198915"/>
                  </a:lnTo>
                  <a:lnTo>
                    <a:pt x="206552" y="19308"/>
                  </a:lnTo>
                  <a:lnTo>
                    <a:pt x="206496" y="544"/>
                  </a:lnTo>
                  <a:lnTo>
                    <a:pt x="205962" y="20"/>
                  </a:lnTo>
                  <a:close/>
                </a:path>
                <a:path w="207010" h="302895" extrusionOk="0">
                  <a:moveTo>
                    <a:pt x="10701" y="0"/>
                  </a:moveTo>
                  <a:lnTo>
                    <a:pt x="6020" y="31"/>
                  </a:lnTo>
                  <a:lnTo>
                    <a:pt x="11026" y="31"/>
                  </a:lnTo>
                  <a:lnTo>
                    <a:pt x="10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" name="Google Shape;162;p47"/>
            <p:cNvSpPr/>
            <p:nvPr/>
          </p:nvSpPr>
          <p:spPr>
            <a:xfrm>
              <a:off x="424394" y="385909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81" y="101634"/>
                  </a:moveTo>
                  <a:lnTo>
                    <a:pt x="74641" y="101634"/>
                  </a:lnTo>
                  <a:lnTo>
                    <a:pt x="106083" y="109131"/>
                  </a:lnTo>
                  <a:lnTo>
                    <a:pt x="145084" y="131399"/>
                  </a:lnTo>
                  <a:lnTo>
                    <a:pt x="189765" y="155922"/>
                  </a:lnTo>
                  <a:lnTo>
                    <a:pt x="226550" y="160239"/>
                  </a:lnTo>
                  <a:lnTo>
                    <a:pt x="254653" y="145763"/>
                  </a:lnTo>
                  <a:lnTo>
                    <a:pt x="273290" y="113902"/>
                  </a:lnTo>
                  <a:lnTo>
                    <a:pt x="279081" y="101634"/>
                  </a:lnTo>
                  <a:close/>
                </a:path>
                <a:path w="359409" h="160654" extrusionOk="0">
                  <a:moveTo>
                    <a:pt x="212998" y="0"/>
                  </a:moveTo>
                  <a:lnTo>
                    <a:pt x="162518" y="5224"/>
                  </a:lnTo>
                  <a:lnTo>
                    <a:pt x="112322" y="21446"/>
                  </a:lnTo>
                  <a:lnTo>
                    <a:pt x="67924" y="46857"/>
                  </a:lnTo>
                  <a:lnTo>
                    <a:pt x="30193" y="80129"/>
                  </a:lnTo>
                  <a:lnTo>
                    <a:pt x="0" y="119933"/>
                  </a:lnTo>
                  <a:lnTo>
                    <a:pt x="6106" y="121008"/>
                  </a:lnTo>
                  <a:lnTo>
                    <a:pt x="13031" y="119303"/>
                  </a:lnTo>
                  <a:lnTo>
                    <a:pt x="20976" y="115744"/>
                  </a:lnTo>
                  <a:lnTo>
                    <a:pt x="30145" y="111253"/>
                  </a:lnTo>
                  <a:lnTo>
                    <a:pt x="49686" y="103983"/>
                  </a:lnTo>
                  <a:lnTo>
                    <a:pt x="74641" y="101634"/>
                  </a:lnTo>
                  <a:lnTo>
                    <a:pt x="279081" y="101634"/>
                  </a:lnTo>
                  <a:lnTo>
                    <a:pt x="292344" y="73538"/>
                  </a:lnTo>
                  <a:lnTo>
                    <a:pt x="312455" y="53041"/>
                  </a:lnTo>
                  <a:lnTo>
                    <a:pt x="331565" y="45787"/>
                  </a:lnTo>
                  <a:lnTo>
                    <a:pt x="347622" y="45150"/>
                  </a:lnTo>
                  <a:lnTo>
                    <a:pt x="357129" y="45150"/>
                  </a:lnTo>
                  <a:lnTo>
                    <a:pt x="358952" y="44365"/>
                  </a:lnTo>
                  <a:lnTo>
                    <a:pt x="326124" y="25731"/>
                  </a:lnTo>
                  <a:lnTo>
                    <a:pt x="290275" y="11781"/>
                  </a:lnTo>
                  <a:lnTo>
                    <a:pt x="252276" y="3031"/>
                  </a:lnTo>
                  <a:lnTo>
                    <a:pt x="212998" y="0"/>
                  </a:lnTo>
                  <a:close/>
                </a:path>
                <a:path w="359409" h="160654" extrusionOk="0">
                  <a:moveTo>
                    <a:pt x="357129" y="45150"/>
                  </a:moveTo>
                  <a:lnTo>
                    <a:pt x="347622" y="45150"/>
                  </a:lnTo>
                  <a:lnTo>
                    <a:pt x="356376" y="45475"/>
                  </a:lnTo>
                  <a:lnTo>
                    <a:pt x="357129" y="451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Google Shape;163;p47"/>
            <p:cNvSpPr/>
            <p:nvPr/>
          </p:nvSpPr>
          <p:spPr>
            <a:xfrm>
              <a:off x="424395" y="385915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76" y="101633"/>
                  </a:moveTo>
                  <a:lnTo>
                    <a:pt x="74633" y="101633"/>
                  </a:lnTo>
                  <a:lnTo>
                    <a:pt x="106077" y="109131"/>
                  </a:lnTo>
                  <a:lnTo>
                    <a:pt x="145084" y="131399"/>
                  </a:lnTo>
                  <a:lnTo>
                    <a:pt x="189765" y="155921"/>
                  </a:lnTo>
                  <a:lnTo>
                    <a:pt x="226550" y="160238"/>
                  </a:lnTo>
                  <a:lnTo>
                    <a:pt x="254653" y="145758"/>
                  </a:lnTo>
                  <a:lnTo>
                    <a:pt x="273290" y="113891"/>
                  </a:lnTo>
                  <a:lnTo>
                    <a:pt x="279076" y="101633"/>
                  </a:lnTo>
                  <a:close/>
                </a:path>
                <a:path w="359409" h="160654" extrusionOk="0">
                  <a:moveTo>
                    <a:pt x="212988" y="0"/>
                  </a:moveTo>
                  <a:lnTo>
                    <a:pt x="162518" y="5214"/>
                  </a:lnTo>
                  <a:lnTo>
                    <a:pt x="112322" y="21440"/>
                  </a:lnTo>
                  <a:lnTo>
                    <a:pt x="67924" y="46851"/>
                  </a:lnTo>
                  <a:lnTo>
                    <a:pt x="30193" y="80124"/>
                  </a:lnTo>
                  <a:lnTo>
                    <a:pt x="0" y="119933"/>
                  </a:lnTo>
                  <a:lnTo>
                    <a:pt x="6106" y="121006"/>
                  </a:lnTo>
                  <a:lnTo>
                    <a:pt x="13031" y="119298"/>
                  </a:lnTo>
                  <a:lnTo>
                    <a:pt x="20976" y="115735"/>
                  </a:lnTo>
                  <a:lnTo>
                    <a:pt x="30145" y="111242"/>
                  </a:lnTo>
                  <a:lnTo>
                    <a:pt x="49680" y="103978"/>
                  </a:lnTo>
                  <a:lnTo>
                    <a:pt x="74633" y="101633"/>
                  </a:lnTo>
                  <a:lnTo>
                    <a:pt x="279076" y="101633"/>
                  </a:lnTo>
                  <a:lnTo>
                    <a:pt x="292342" y="73532"/>
                  </a:lnTo>
                  <a:lnTo>
                    <a:pt x="312455" y="53035"/>
                  </a:lnTo>
                  <a:lnTo>
                    <a:pt x="331568" y="45778"/>
                  </a:lnTo>
                  <a:lnTo>
                    <a:pt x="347622" y="45139"/>
                  </a:lnTo>
                  <a:lnTo>
                    <a:pt x="357132" y="45139"/>
                  </a:lnTo>
                  <a:lnTo>
                    <a:pt x="358962" y="44354"/>
                  </a:lnTo>
                  <a:lnTo>
                    <a:pt x="326129" y="25722"/>
                  </a:lnTo>
                  <a:lnTo>
                    <a:pt x="290279" y="11775"/>
                  </a:lnTo>
                  <a:lnTo>
                    <a:pt x="252276" y="3029"/>
                  </a:lnTo>
                  <a:lnTo>
                    <a:pt x="212988" y="0"/>
                  </a:lnTo>
                  <a:close/>
                </a:path>
                <a:path w="359409" h="160654" extrusionOk="0">
                  <a:moveTo>
                    <a:pt x="357132" y="45139"/>
                  </a:moveTo>
                  <a:lnTo>
                    <a:pt x="347622" y="45139"/>
                  </a:lnTo>
                  <a:lnTo>
                    <a:pt x="356376" y="45464"/>
                  </a:lnTo>
                  <a:lnTo>
                    <a:pt x="357132" y="45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Google Shape;164;p47"/>
            <p:cNvSpPr/>
            <p:nvPr/>
          </p:nvSpPr>
          <p:spPr>
            <a:xfrm>
              <a:off x="388141" y="471829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76" y="81522"/>
                  </a:moveTo>
                  <a:lnTo>
                    <a:pt x="8920" y="117624"/>
                  </a:lnTo>
                  <a:lnTo>
                    <a:pt x="0" y="188780"/>
                  </a:lnTo>
                  <a:lnTo>
                    <a:pt x="6086" y="225752"/>
                  </a:lnTo>
                  <a:lnTo>
                    <a:pt x="20970" y="268684"/>
                  </a:lnTo>
                  <a:lnTo>
                    <a:pt x="42648" y="307244"/>
                  </a:lnTo>
                  <a:lnTo>
                    <a:pt x="70253" y="340900"/>
                  </a:lnTo>
                  <a:lnTo>
                    <a:pt x="102915" y="369119"/>
                  </a:lnTo>
                  <a:lnTo>
                    <a:pt x="139767" y="391369"/>
                  </a:lnTo>
                  <a:lnTo>
                    <a:pt x="179940" y="407118"/>
                  </a:lnTo>
                  <a:lnTo>
                    <a:pt x="222565" y="415835"/>
                  </a:lnTo>
                  <a:lnTo>
                    <a:pt x="266775" y="416986"/>
                  </a:lnTo>
                  <a:lnTo>
                    <a:pt x="311700" y="410039"/>
                  </a:lnTo>
                  <a:lnTo>
                    <a:pt x="354634" y="395197"/>
                  </a:lnTo>
                  <a:lnTo>
                    <a:pt x="393129" y="373594"/>
                  </a:lnTo>
                  <a:lnTo>
                    <a:pt x="426673" y="346089"/>
                  </a:lnTo>
                  <a:lnTo>
                    <a:pt x="454752" y="313541"/>
                  </a:lnTo>
                  <a:lnTo>
                    <a:pt x="476854" y="276810"/>
                  </a:lnTo>
                  <a:lnTo>
                    <a:pt x="489166" y="245222"/>
                  </a:lnTo>
                  <a:lnTo>
                    <a:pt x="277441" y="245222"/>
                  </a:lnTo>
                  <a:lnTo>
                    <a:pt x="237962" y="242999"/>
                  </a:lnTo>
                  <a:lnTo>
                    <a:pt x="198668" y="226846"/>
                  </a:lnTo>
                  <a:lnTo>
                    <a:pt x="162891" y="198831"/>
                  </a:lnTo>
                  <a:lnTo>
                    <a:pt x="133967" y="161021"/>
                  </a:lnTo>
                  <a:lnTo>
                    <a:pt x="114325" y="124854"/>
                  </a:lnTo>
                  <a:lnTo>
                    <a:pt x="104289" y="109255"/>
                  </a:lnTo>
                  <a:lnTo>
                    <a:pt x="91455" y="94845"/>
                  </a:lnTo>
                  <a:lnTo>
                    <a:pt x="75799" y="84974"/>
                  </a:lnTo>
                  <a:lnTo>
                    <a:pt x="58476" y="81522"/>
                  </a:lnTo>
                  <a:close/>
                </a:path>
                <a:path w="502284" h="417194" extrusionOk="0">
                  <a:moveTo>
                    <a:pt x="416942" y="0"/>
                  </a:moveTo>
                  <a:lnTo>
                    <a:pt x="382472" y="29308"/>
                  </a:lnTo>
                  <a:lnTo>
                    <a:pt x="374088" y="67766"/>
                  </a:lnTo>
                  <a:lnTo>
                    <a:pt x="368364" y="112970"/>
                  </a:lnTo>
                  <a:lnTo>
                    <a:pt x="359980" y="158920"/>
                  </a:lnTo>
                  <a:lnTo>
                    <a:pt x="343615" y="199616"/>
                  </a:lnTo>
                  <a:lnTo>
                    <a:pt x="313770" y="231450"/>
                  </a:lnTo>
                  <a:lnTo>
                    <a:pt x="277441" y="245222"/>
                  </a:lnTo>
                  <a:lnTo>
                    <a:pt x="489166" y="245222"/>
                  </a:lnTo>
                  <a:lnTo>
                    <a:pt x="492466" y="236755"/>
                  </a:lnTo>
                  <a:lnTo>
                    <a:pt x="501075" y="194234"/>
                  </a:lnTo>
                  <a:lnTo>
                    <a:pt x="502168" y="150107"/>
                  </a:lnTo>
                  <a:lnTo>
                    <a:pt x="495233" y="105232"/>
                  </a:lnTo>
                  <a:lnTo>
                    <a:pt x="476074" y="52247"/>
                  </a:lnTo>
                  <a:lnTo>
                    <a:pt x="448763" y="14449"/>
                  </a:lnTo>
                  <a:lnTo>
                    <a:pt x="424210" y="814"/>
                  </a:lnTo>
                  <a:lnTo>
                    <a:pt x="4169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165;p47"/>
            <p:cNvSpPr/>
            <p:nvPr/>
          </p:nvSpPr>
          <p:spPr>
            <a:xfrm>
              <a:off x="388140" y="471828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81" y="81526"/>
                  </a:moveTo>
                  <a:lnTo>
                    <a:pt x="8917" y="117624"/>
                  </a:lnTo>
                  <a:lnTo>
                    <a:pt x="0" y="188784"/>
                  </a:lnTo>
                  <a:lnTo>
                    <a:pt x="6087" y="225762"/>
                  </a:lnTo>
                  <a:lnTo>
                    <a:pt x="20968" y="268691"/>
                  </a:lnTo>
                  <a:lnTo>
                    <a:pt x="42645" y="307249"/>
                  </a:lnTo>
                  <a:lnTo>
                    <a:pt x="70249" y="340903"/>
                  </a:lnTo>
                  <a:lnTo>
                    <a:pt x="102912" y="369121"/>
                  </a:lnTo>
                  <a:lnTo>
                    <a:pt x="139765" y="391370"/>
                  </a:lnTo>
                  <a:lnTo>
                    <a:pt x="179939" y="407119"/>
                  </a:lnTo>
                  <a:lnTo>
                    <a:pt x="222565" y="415835"/>
                  </a:lnTo>
                  <a:lnTo>
                    <a:pt x="266776" y="416986"/>
                  </a:lnTo>
                  <a:lnTo>
                    <a:pt x="311701" y="410039"/>
                  </a:lnTo>
                  <a:lnTo>
                    <a:pt x="354635" y="395197"/>
                  </a:lnTo>
                  <a:lnTo>
                    <a:pt x="393131" y="373594"/>
                  </a:lnTo>
                  <a:lnTo>
                    <a:pt x="426674" y="346089"/>
                  </a:lnTo>
                  <a:lnTo>
                    <a:pt x="454754" y="313542"/>
                  </a:lnTo>
                  <a:lnTo>
                    <a:pt x="476856" y="276812"/>
                  </a:lnTo>
                  <a:lnTo>
                    <a:pt x="489166" y="245228"/>
                  </a:lnTo>
                  <a:lnTo>
                    <a:pt x="277443" y="245228"/>
                  </a:lnTo>
                  <a:lnTo>
                    <a:pt x="237964" y="243004"/>
                  </a:lnTo>
                  <a:lnTo>
                    <a:pt x="198669" y="226851"/>
                  </a:lnTo>
                  <a:lnTo>
                    <a:pt x="162892" y="198835"/>
                  </a:lnTo>
                  <a:lnTo>
                    <a:pt x="133968" y="161021"/>
                  </a:lnTo>
                  <a:lnTo>
                    <a:pt x="114326" y="124858"/>
                  </a:lnTo>
                  <a:lnTo>
                    <a:pt x="104291" y="109256"/>
                  </a:lnTo>
                  <a:lnTo>
                    <a:pt x="91456" y="94845"/>
                  </a:lnTo>
                  <a:lnTo>
                    <a:pt x="75802" y="84975"/>
                  </a:lnTo>
                  <a:lnTo>
                    <a:pt x="58481" y="81526"/>
                  </a:lnTo>
                  <a:close/>
                </a:path>
                <a:path w="502284" h="417194" extrusionOk="0">
                  <a:moveTo>
                    <a:pt x="416944" y="0"/>
                  </a:moveTo>
                  <a:lnTo>
                    <a:pt x="382474" y="29308"/>
                  </a:lnTo>
                  <a:lnTo>
                    <a:pt x="374089" y="67764"/>
                  </a:lnTo>
                  <a:lnTo>
                    <a:pt x="368366" y="112967"/>
                  </a:lnTo>
                  <a:lnTo>
                    <a:pt x="359982" y="158920"/>
                  </a:lnTo>
                  <a:lnTo>
                    <a:pt x="343616" y="199627"/>
                  </a:lnTo>
                  <a:lnTo>
                    <a:pt x="313772" y="231457"/>
                  </a:lnTo>
                  <a:lnTo>
                    <a:pt x="277443" y="245228"/>
                  </a:lnTo>
                  <a:lnTo>
                    <a:pt x="489166" y="245228"/>
                  </a:lnTo>
                  <a:lnTo>
                    <a:pt x="492467" y="236758"/>
                  </a:lnTo>
                  <a:lnTo>
                    <a:pt x="501076" y="194239"/>
                  </a:lnTo>
                  <a:lnTo>
                    <a:pt x="502170" y="150114"/>
                  </a:lnTo>
                  <a:lnTo>
                    <a:pt x="495235" y="105242"/>
                  </a:lnTo>
                  <a:lnTo>
                    <a:pt x="476072" y="52248"/>
                  </a:lnTo>
                  <a:lnTo>
                    <a:pt x="448765" y="14449"/>
                  </a:lnTo>
                  <a:lnTo>
                    <a:pt x="424216" y="816"/>
                  </a:lnTo>
                  <a:lnTo>
                    <a:pt x="4169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6" name="Google Shape;166;p47"/>
          <p:cNvSpPr txBox="1">
            <a:spLocks noGrp="1"/>
          </p:cNvSpPr>
          <p:nvPr>
            <p:ph type="title"/>
          </p:nvPr>
        </p:nvSpPr>
        <p:spPr>
          <a:xfrm>
            <a:off x="5780646" y="607512"/>
            <a:ext cx="5650476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67" name="Google Shape;167;p47"/>
          <p:cNvSpPr txBox="1">
            <a:spLocks noGrp="1"/>
          </p:cNvSpPr>
          <p:nvPr>
            <p:ph type="subTitle" idx="1"/>
          </p:nvPr>
        </p:nvSpPr>
        <p:spPr>
          <a:xfrm>
            <a:off x="5787472" y="2050674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68" name="Google Shape;168;p47"/>
          <p:cNvSpPr txBox="1">
            <a:spLocks noGrp="1"/>
          </p:cNvSpPr>
          <p:nvPr>
            <p:ph type="body" idx="2"/>
          </p:nvPr>
        </p:nvSpPr>
        <p:spPr>
          <a:xfrm>
            <a:off x="5787472" y="2446403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69" name="Google Shape;169;p47"/>
          <p:cNvSpPr txBox="1">
            <a:spLocks noGrp="1"/>
          </p:cNvSpPr>
          <p:nvPr>
            <p:ph type="subTitle" idx="3"/>
          </p:nvPr>
        </p:nvSpPr>
        <p:spPr>
          <a:xfrm>
            <a:off x="5787472" y="3880838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0" name="Google Shape;170;p47"/>
          <p:cNvSpPr txBox="1">
            <a:spLocks noGrp="1"/>
          </p:cNvSpPr>
          <p:nvPr>
            <p:ph type="body" idx="4"/>
          </p:nvPr>
        </p:nvSpPr>
        <p:spPr>
          <a:xfrm>
            <a:off x="5787472" y="4276567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71" name="Google Shape;171;p47"/>
          <p:cNvSpPr txBox="1">
            <a:spLocks noGrp="1"/>
          </p:cNvSpPr>
          <p:nvPr>
            <p:ph type="subTitle" idx="5"/>
          </p:nvPr>
        </p:nvSpPr>
        <p:spPr>
          <a:xfrm>
            <a:off x="5787472" y="526708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2" name="Google Shape;172;p47"/>
          <p:cNvSpPr txBox="1">
            <a:spLocks noGrp="1"/>
          </p:cNvSpPr>
          <p:nvPr>
            <p:ph type="body" idx="6"/>
          </p:nvPr>
        </p:nvSpPr>
        <p:spPr>
          <a:xfrm>
            <a:off x="5787472" y="566281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73" name="Google Shape;173;p47"/>
          <p:cNvSpPr txBox="1">
            <a:spLocks noGrp="1"/>
          </p:cNvSpPr>
          <p:nvPr>
            <p:ph type="subTitle" idx="7"/>
          </p:nvPr>
        </p:nvSpPr>
        <p:spPr>
          <a:xfrm>
            <a:off x="8897815" y="2050674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4" name="Google Shape;174;p47"/>
          <p:cNvSpPr txBox="1">
            <a:spLocks noGrp="1"/>
          </p:cNvSpPr>
          <p:nvPr>
            <p:ph type="body" idx="8"/>
          </p:nvPr>
        </p:nvSpPr>
        <p:spPr>
          <a:xfrm>
            <a:off x="8897815" y="2446403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75" name="Google Shape;175;p47"/>
          <p:cNvSpPr txBox="1">
            <a:spLocks noGrp="1"/>
          </p:cNvSpPr>
          <p:nvPr>
            <p:ph type="subTitle" idx="9"/>
          </p:nvPr>
        </p:nvSpPr>
        <p:spPr>
          <a:xfrm>
            <a:off x="8897815" y="3880838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6" name="Google Shape;176;p47"/>
          <p:cNvSpPr txBox="1">
            <a:spLocks noGrp="1"/>
          </p:cNvSpPr>
          <p:nvPr>
            <p:ph type="body" idx="13"/>
          </p:nvPr>
        </p:nvSpPr>
        <p:spPr>
          <a:xfrm>
            <a:off x="8897815" y="4276567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77" name="Google Shape;177;p47"/>
          <p:cNvSpPr txBox="1">
            <a:spLocks noGrp="1"/>
          </p:cNvSpPr>
          <p:nvPr>
            <p:ph type="subTitle" idx="14"/>
          </p:nvPr>
        </p:nvSpPr>
        <p:spPr>
          <a:xfrm>
            <a:off x="8897815" y="526708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15"/>
          </p:nvPr>
        </p:nvSpPr>
        <p:spPr>
          <a:xfrm>
            <a:off x="8897815" y="566281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5337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dern Developer Blue">
  <p:cSld name="Modern Developer Blue">
    <p:bg>
      <p:bgPr>
        <a:gradFill>
          <a:gsLst>
            <a:gs pos="0">
              <a:srgbClr val="00C8B0"/>
            </a:gs>
            <a:gs pos="100000">
              <a:srgbClr val="0B7DC4"/>
            </a:gs>
          </a:gsLst>
          <a:lin ang="2698631" scaled="0"/>
        </a:gradFill>
        <a:effectLst/>
      </p:bgPr>
    </p:bg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Google Shape;180;p48"/>
          <p:cNvPicPr preferRelativeResize="0"/>
          <p:nvPr/>
        </p:nvPicPr>
        <p:blipFill rotWithShape="1">
          <a:blip r:embed="rId2">
            <a:alphaModFix amt="22000"/>
          </a:blip>
          <a:srcRect l="2020" t="780" r="787" b="-779"/>
          <a:stretch/>
        </p:blipFill>
        <p:spPr>
          <a:xfrm rot="10800000" flipH="1">
            <a:off x="-2648367" y="2165829"/>
            <a:ext cx="4861796" cy="46545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1" name="Google Shape;181;p48"/>
          <p:cNvPicPr preferRelativeResize="0"/>
          <p:nvPr/>
        </p:nvPicPr>
        <p:blipFill rotWithShape="1">
          <a:blip r:embed="rId3">
            <a:alphaModFix amt="20000"/>
          </a:blip>
          <a:srcRect/>
          <a:stretch/>
        </p:blipFill>
        <p:spPr>
          <a:xfrm rot="-5400000">
            <a:off x="217498" y="1933092"/>
            <a:ext cx="6983661" cy="2991813"/>
          </a:xfrm>
          <a:prstGeom prst="rect">
            <a:avLst/>
          </a:prstGeom>
          <a:noFill/>
          <a:ln>
            <a:noFill/>
          </a:ln>
        </p:spPr>
      </p:pic>
      <p:sp>
        <p:nvSpPr>
          <p:cNvPr id="182" name="Google Shape;182;p48"/>
          <p:cNvSpPr/>
          <p:nvPr/>
        </p:nvSpPr>
        <p:spPr>
          <a:xfrm>
            <a:off x="9162239" y="5877026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83" name="Google Shape;183;p48"/>
          <p:cNvGrpSpPr/>
          <p:nvPr/>
        </p:nvGrpSpPr>
        <p:grpSpPr>
          <a:xfrm>
            <a:off x="235399" y="234005"/>
            <a:ext cx="909783" cy="195959"/>
            <a:chOff x="388140" y="385909"/>
            <a:chExt cx="2335658" cy="503114"/>
          </a:xfrm>
        </p:grpSpPr>
        <p:sp>
          <p:nvSpPr>
            <p:cNvPr id="184" name="Google Shape;184;p48"/>
            <p:cNvSpPr/>
            <p:nvPr/>
          </p:nvSpPr>
          <p:spPr>
            <a:xfrm>
              <a:off x="2234208" y="482226"/>
              <a:ext cx="189230" cy="301625"/>
            </a:xfrm>
            <a:custGeom>
              <a:avLst/>
              <a:gdLst/>
              <a:ahLst/>
              <a:cxnLst/>
              <a:rect l="l" t="t" r="r" b="b"/>
              <a:pathLst>
                <a:path w="189230" h="301625" extrusionOk="0">
                  <a:moveTo>
                    <a:pt x="98740" y="0"/>
                  </a:moveTo>
                  <a:lnTo>
                    <a:pt x="22585" y="0"/>
                  </a:lnTo>
                  <a:lnTo>
                    <a:pt x="13795" y="1775"/>
                  </a:lnTo>
                  <a:lnTo>
                    <a:pt x="6616" y="6616"/>
                  </a:lnTo>
                  <a:lnTo>
                    <a:pt x="1775" y="13795"/>
                  </a:lnTo>
                  <a:lnTo>
                    <a:pt x="35" y="22410"/>
                  </a:lnTo>
                  <a:lnTo>
                    <a:pt x="0" y="298682"/>
                  </a:lnTo>
                  <a:lnTo>
                    <a:pt x="2649" y="301341"/>
                  </a:lnTo>
                  <a:lnTo>
                    <a:pt x="101284" y="301341"/>
                  </a:lnTo>
                  <a:lnTo>
                    <a:pt x="137374" y="295196"/>
                  </a:lnTo>
                  <a:lnTo>
                    <a:pt x="164959" y="277723"/>
                  </a:lnTo>
                  <a:lnTo>
                    <a:pt x="170486" y="269143"/>
                  </a:lnTo>
                  <a:lnTo>
                    <a:pt x="102206" y="269143"/>
                  </a:lnTo>
                  <a:lnTo>
                    <a:pt x="32574" y="268997"/>
                  </a:lnTo>
                  <a:lnTo>
                    <a:pt x="32574" y="161293"/>
                  </a:lnTo>
                  <a:lnTo>
                    <a:pt x="168430" y="161293"/>
                  </a:lnTo>
                  <a:lnTo>
                    <a:pt x="165583" y="157499"/>
                  </a:lnTo>
                  <a:lnTo>
                    <a:pt x="148435" y="143524"/>
                  </a:lnTo>
                  <a:lnTo>
                    <a:pt x="162000" y="130721"/>
                  </a:lnTo>
                  <a:lnTo>
                    <a:pt x="162682" y="129702"/>
                  </a:lnTo>
                  <a:lnTo>
                    <a:pt x="32616" y="129702"/>
                  </a:lnTo>
                  <a:lnTo>
                    <a:pt x="32616" y="29716"/>
                  </a:lnTo>
                  <a:lnTo>
                    <a:pt x="162581" y="29716"/>
                  </a:lnTo>
                  <a:lnTo>
                    <a:pt x="157851" y="22410"/>
                  </a:lnTo>
                  <a:lnTo>
                    <a:pt x="132085" y="5864"/>
                  </a:lnTo>
                  <a:lnTo>
                    <a:pt x="98740" y="0"/>
                  </a:lnTo>
                  <a:close/>
                </a:path>
                <a:path w="189230" h="301625" extrusionOk="0">
                  <a:moveTo>
                    <a:pt x="168430" y="161293"/>
                  </a:moveTo>
                  <a:lnTo>
                    <a:pt x="32574" y="161293"/>
                  </a:lnTo>
                  <a:lnTo>
                    <a:pt x="95065" y="161450"/>
                  </a:lnTo>
                  <a:lnTo>
                    <a:pt x="119672" y="165601"/>
                  </a:lnTo>
                  <a:lnTo>
                    <a:pt x="139557" y="176989"/>
                  </a:lnTo>
                  <a:lnTo>
                    <a:pt x="152855" y="194015"/>
                  </a:lnTo>
                  <a:lnTo>
                    <a:pt x="157702" y="215082"/>
                  </a:lnTo>
                  <a:lnTo>
                    <a:pt x="154063" y="238243"/>
                  </a:lnTo>
                  <a:lnTo>
                    <a:pt x="143375" y="255192"/>
                  </a:lnTo>
                  <a:lnTo>
                    <a:pt x="125976" y="265601"/>
                  </a:lnTo>
                  <a:lnTo>
                    <a:pt x="102206" y="269143"/>
                  </a:lnTo>
                  <a:lnTo>
                    <a:pt x="170486" y="269143"/>
                  </a:lnTo>
                  <a:lnTo>
                    <a:pt x="182581" y="250369"/>
                  </a:lnTo>
                  <a:lnTo>
                    <a:pt x="188779" y="214579"/>
                  </a:lnTo>
                  <a:lnTo>
                    <a:pt x="186090" y="193589"/>
                  </a:lnTo>
                  <a:lnTo>
                    <a:pt x="178247" y="174375"/>
                  </a:lnTo>
                  <a:lnTo>
                    <a:pt x="168430" y="161293"/>
                  </a:lnTo>
                  <a:close/>
                </a:path>
                <a:path w="189230" h="301625" extrusionOk="0">
                  <a:moveTo>
                    <a:pt x="162581" y="29716"/>
                  </a:moveTo>
                  <a:lnTo>
                    <a:pt x="99546" y="29716"/>
                  </a:lnTo>
                  <a:lnTo>
                    <a:pt x="120723" y="33008"/>
                  </a:lnTo>
                  <a:lnTo>
                    <a:pt x="136224" y="42680"/>
                  </a:lnTo>
                  <a:lnTo>
                    <a:pt x="145748" y="58425"/>
                  </a:lnTo>
                  <a:lnTo>
                    <a:pt x="148990" y="79934"/>
                  </a:lnTo>
                  <a:lnTo>
                    <a:pt x="144575" y="99487"/>
                  </a:lnTo>
                  <a:lnTo>
                    <a:pt x="132464" y="115287"/>
                  </a:lnTo>
                  <a:lnTo>
                    <a:pt x="114357" y="125852"/>
                  </a:lnTo>
                  <a:lnTo>
                    <a:pt x="91955" y="129702"/>
                  </a:lnTo>
                  <a:lnTo>
                    <a:pt x="162682" y="129702"/>
                  </a:lnTo>
                  <a:lnTo>
                    <a:pt x="172018" y="115756"/>
                  </a:lnTo>
                  <a:lnTo>
                    <a:pt x="178223" y="99113"/>
                  </a:lnTo>
                  <a:lnTo>
                    <a:pt x="180350" y="81275"/>
                  </a:lnTo>
                  <a:lnTo>
                    <a:pt x="174463" y="48070"/>
                  </a:lnTo>
                  <a:lnTo>
                    <a:pt x="162581" y="29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Google Shape;185;p48"/>
            <p:cNvSpPr/>
            <p:nvPr/>
          </p:nvSpPr>
          <p:spPr>
            <a:xfrm>
              <a:off x="1161674" y="482228"/>
              <a:ext cx="280034" cy="301625"/>
            </a:xfrm>
            <a:custGeom>
              <a:avLst/>
              <a:gdLst/>
              <a:ahLst/>
              <a:cxnLst/>
              <a:rect l="l" t="t" r="r" b="b"/>
              <a:pathLst>
                <a:path w="280034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0" y="300922"/>
                  </a:lnTo>
                  <a:lnTo>
                    <a:pt x="494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4" h="301625" extrusionOk="0">
                  <a:moveTo>
                    <a:pt x="270095" y="88971"/>
                  </a:moveTo>
                  <a:lnTo>
                    <a:pt x="236383" y="88971"/>
                  </a:lnTo>
                  <a:lnTo>
                    <a:pt x="23645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34" y="301425"/>
                  </a:lnTo>
                  <a:lnTo>
                    <a:pt x="279818" y="300922"/>
                  </a:lnTo>
                  <a:lnTo>
                    <a:pt x="279829" y="299791"/>
                  </a:lnTo>
                  <a:lnTo>
                    <a:pt x="270095" y="88971"/>
                  </a:lnTo>
                  <a:close/>
                </a:path>
                <a:path w="280034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15" y="93913"/>
                  </a:lnTo>
                  <a:lnTo>
                    <a:pt x="46189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47" y="301362"/>
                  </a:lnTo>
                  <a:lnTo>
                    <a:pt x="144396" y="299791"/>
                  </a:lnTo>
                  <a:lnTo>
                    <a:pt x="174769" y="230422"/>
                  </a:lnTo>
                  <a:lnTo>
                    <a:pt x="139977" y="230422"/>
                  </a:lnTo>
                  <a:lnTo>
                    <a:pt x="13907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4" h="301625" extrusionOk="0">
                  <a:moveTo>
                    <a:pt x="265513" y="0"/>
                  </a:moveTo>
                  <a:lnTo>
                    <a:pt x="252633" y="0"/>
                  </a:lnTo>
                  <a:lnTo>
                    <a:pt x="245657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9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5" y="88971"/>
                  </a:lnTo>
                  <a:lnTo>
                    <a:pt x="266039" y="1140"/>
                  </a:lnTo>
                  <a:lnTo>
                    <a:pt x="265994" y="460"/>
                  </a:lnTo>
                  <a:lnTo>
                    <a:pt x="2655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Google Shape;186;p48"/>
            <p:cNvSpPr/>
            <p:nvPr/>
          </p:nvSpPr>
          <p:spPr>
            <a:xfrm>
              <a:off x="1846406" y="482228"/>
              <a:ext cx="280035" cy="301625"/>
            </a:xfrm>
            <a:custGeom>
              <a:avLst/>
              <a:gdLst/>
              <a:ahLst/>
              <a:cxnLst/>
              <a:rect l="l" t="t" r="r" b="b"/>
              <a:pathLst>
                <a:path w="280035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2" y="300922"/>
                  </a:lnTo>
                  <a:lnTo>
                    <a:pt x="505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5" h="301625" extrusionOk="0">
                  <a:moveTo>
                    <a:pt x="270096" y="88971"/>
                  </a:moveTo>
                  <a:lnTo>
                    <a:pt x="236383" y="88971"/>
                  </a:lnTo>
                  <a:lnTo>
                    <a:pt x="23646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55" y="301425"/>
                  </a:lnTo>
                  <a:lnTo>
                    <a:pt x="279830" y="300922"/>
                  </a:lnTo>
                  <a:lnTo>
                    <a:pt x="279840" y="299791"/>
                  </a:lnTo>
                  <a:lnTo>
                    <a:pt x="270096" y="88971"/>
                  </a:lnTo>
                  <a:close/>
                </a:path>
                <a:path w="280035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25" y="93913"/>
                  </a:lnTo>
                  <a:lnTo>
                    <a:pt x="46200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58" y="301362"/>
                  </a:lnTo>
                  <a:lnTo>
                    <a:pt x="144385" y="299791"/>
                  </a:lnTo>
                  <a:lnTo>
                    <a:pt x="174762" y="230422"/>
                  </a:lnTo>
                  <a:lnTo>
                    <a:pt x="139977" y="230422"/>
                  </a:lnTo>
                  <a:lnTo>
                    <a:pt x="13908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5" h="301625" extrusionOk="0">
                  <a:moveTo>
                    <a:pt x="265523" y="0"/>
                  </a:moveTo>
                  <a:lnTo>
                    <a:pt x="252633" y="0"/>
                  </a:lnTo>
                  <a:lnTo>
                    <a:pt x="245661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2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6" y="88971"/>
                  </a:lnTo>
                  <a:lnTo>
                    <a:pt x="266005" y="460"/>
                  </a:lnTo>
                  <a:lnTo>
                    <a:pt x="2655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Google Shape;187;p48"/>
            <p:cNvSpPr/>
            <p:nvPr/>
          </p:nvSpPr>
          <p:spPr>
            <a:xfrm>
              <a:off x="1529433" y="482231"/>
              <a:ext cx="231139" cy="301625"/>
            </a:xfrm>
            <a:custGeom>
              <a:avLst/>
              <a:gdLst/>
              <a:ahLst/>
              <a:cxnLst/>
              <a:rect l="l" t="t" r="r" b="b"/>
              <a:pathLst>
                <a:path w="231139" h="301625" extrusionOk="0">
                  <a:moveTo>
                    <a:pt x="115326" y="0"/>
                  </a:moveTo>
                  <a:lnTo>
                    <a:pt x="79255" y="13210"/>
                  </a:lnTo>
                  <a:lnTo>
                    <a:pt x="59050" y="49820"/>
                  </a:lnTo>
                  <a:lnTo>
                    <a:pt x="0" y="300577"/>
                  </a:lnTo>
                  <a:lnTo>
                    <a:pt x="670" y="301425"/>
                  </a:lnTo>
                  <a:lnTo>
                    <a:pt x="33140" y="301435"/>
                  </a:lnTo>
                  <a:lnTo>
                    <a:pt x="33758" y="301435"/>
                  </a:lnTo>
                  <a:lnTo>
                    <a:pt x="34302" y="301006"/>
                  </a:lnTo>
                  <a:lnTo>
                    <a:pt x="59390" y="194643"/>
                  </a:lnTo>
                  <a:lnTo>
                    <a:pt x="205578" y="194643"/>
                  </a:lnTo>
                  <a:lnTo>
                    <a:pt x="197455" y="160162"/>
                  </a:lnTo>
                  <a:lnTo>
                    <a:pt x="67453" y="160162"/>
                  </a:lnTo>
                  <a:lnTo>
                    <a:pt x="92184" y="54239"/>
                  </a:lnTo>
                  <a:lnTo>
                    <a:pt x="95584" y="45323"/>
                  </a:lnTo>
                  <a:lnTo>
                    <a:pt x="100635" y="38826"/>
                  </a:lnTo>
                  <a:lnTo>
                    <a:pt x="107233" y="34872"/>
                  </a:lnTo>
                  <a:lnTo>
                    <a:pt x="115294" y="33538"/>
                  </a:lnTo>
                  <a:lnTo>
                    <a:pt x="165449" y="33538"/>
                  </a:lnTo>
                  <a:lnTo>
                    <a:pt x="163871" y="29264"/>
                  </a:lnTo>
                  <a:lnTo>
                    <a:pt x="151809" y="13739"/>
                  </a:lnTo>
                  <a:lnTo>
                    <a:pt x="135903" y="3807"/>
                  </a:lnTo>
                  <a:lnTo>
                    <a:pt x="116781" y="31"/>
                  </a:lnTo>
                  <a:lnTo>
                    <a:pt x="115326" y="0"/>
                  </a:lnTo>
                  <a:close/>
                </a:path>
                <a:path w="231139" h="301625" extrusionOk="0">
                  <a:moveTo>
                    <a:pt x="205578" y="194643"/>
                  </a:moveTo>
                  <a:lnTo>
                    <a:pt x="171146" y="194643"/>
                  </a:lnTo>
                  <a:lnTo>
                    <a:pt x="196698" y="301006"/>
                  </a:lnTo>
                  <a:lnTo>
                    <a:pt x="197219" y="301404"/>
                  </a:lnTo>
                  <a:lnTo>
                    <a:pt x="228956" y="301435"/>
                  </a:lnTo>
                  <a:lnTo>
                    <a:pt x="229856" y="301435"/>
                  </a:lnTo>
                  <a:lnTo>
                    <a:pt x="230516" y="300577"/>
                  </a:lnTo>
                  <a:lnTo>
                    <a:pt x="230328" y="299697"/>
                  </a:lnTo>
                  <a:lnTo>
                    <a:pt x="205578" y="194643"/>
                  </a:lnTo>
                  <a:close/>
                </a:path>
                <a:path w="231139" h="301625" extrusionOk="0">
                  <a:moveTo>
                    <a:pt x="165449" y="33538"/>
                  </a:moveTo>
                  <a:lnTo>
                    <a:pt x="115294" y="33538"/>
                  </a:lnTo>
                  <a:lnTo>
                    <a:pt x="116279" y="33559"/>
                  </a:lnTo>
                  <a:lnTo>
                    <a:pt x="123952" y="35114"/>
                  </a:lnTo>
                  <a:lnTo>
                    <a:pt x="130240" y="39132"/>
                  </a:lnTo>
                  <a:lnTo>
                    <a:pt x="135066" y="45533"/>
                  </a:lnTo>
                  <a:lnTo>
                    <a:pt x="138364" y="54291"/>
                  </a:lnTo>
                  <a:lnTo>
                    <a:pt x="163084" y="160162"/>
                  </a:lnTo>
                  <a:lnTo>
                    <a:pt x="197455" y="160162"/>
                  </a:lnTo>
                  <a:lnTo>
                    <a:pt x="171453" y="49799"/>
                  </a:lnTo>
                  <a:lnTo>
                    <a:pt x="165449" y="335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Google Shape;188;p48"/>
            <p:cNvSpPr/>
            <p:nvPr/>
          </p:nvSpPr>
          <p:spPr>
            <a:xfrm>
              <a:off x="2516788" y="482026"/>
              <a:ext cx="207010" cy="302895"/>
            </a:xfrm>
            <a:custGeom>
              <a:avLst/>
              <a:gdLst/>
              <a:ahLst/>
              <a:cxnLst/>
              <a:rect l="l" t="t" r="r" b="b"/>
              <a:pathLst>
                <a:path w="207010" h="302895" extrusionOk="0">
                  <a:moveTo>
                    <a:pt x="6020" y="20"/>
                  </a:moveTo>
                  <a:lnTo>
                    <a:pt x="659" y="31"/>
                  </a:lnTo>
                  <a:lnTo>
                    <a:pt x="125" y="544"/>
                  </a:lnTo>
                  <a:lnTo>
                    <a:pt x="0" y="199480"/>
                  </a:lnTo>
                  <a:lnTo>
                    <a:pt x="7095" y="242011"/>
                  </a:lnTo>
                  <a:lnTo>
                    <a:pt x="27699" y="274589"/>
                  </a:lnTo>
                  <a:lnTo>
                    <a:pt x="60269" y="295201"/>
                  </a:lnTo>
                  <a:lnTo>
                    <a:pt x="103358" y="302399"/>
                  </a:lnTo>
                  <a:lnTo>
                    <a:pt x="146015" y="295066"/>
                  </a:lnTo>
                  <a:lnTo>
                    <a:pt x="178618" y="274228"/>
                  </a:lnTo>
                  <a:lnTo>
                    <a:pt x="181363" y="269928"/>
                  </a:lnTo>
                  <a:lnTo>
                    <a:pt x="103347" y="269928"/>
                  </a:lnTo>
                  <a:lnTo>
                    <a:pt x="70907" y="263490"/>
                  </a:lnTo>
                  <a:lnTo>
                    <a:pt x="49461" y="246889"/>
                  </a:lnTo>
                  <a:lnTo>
                    <a:pt x="37616" y="224195"/>
                  </a:lnTo>
                  <a:lnTo>
                    <a:pt x="33977" y="199480"/>
                  </a:lnTo>
                  <a:lnTo>
                    <a:pt x="33977" y="19297"/>
                  </a:lnTo>
                  <a:lnTo>
                    <a:pt x="31171" y="11779"/>
                  </a:lnTo>
                  <a:lnTo>
                    <a:pt x="19172" y="816"/>
                  </a:lnTo>
                  <a:lnTo>
                    <a:pt x="11026" y="31"/>
                  </a:lnTo>
                  <a:lnTo>
                    <a:pt x="6020" y="31"/>
                  </a:lnTo>
                  <a:close/>
                </a:path>
                <a:path w="207010" h="302895" extrusionOk="0">
                  <a:moveTo>
                    <a:pt x="205962" y="20"/>
                  </a:moveTo>
                  <a:lnTo>
                    <a:pt x="172689" y="19297"/>
                  </a:lnTo>
                  <a:lnTo>
                    <a:pt x="172685" y="199480"/>
                  </a:lnTo>
                  <a:lnTo>
                    <a:pt x="169049" y="224195"/>
                  </a:lnTo>
                  <a:lnTo>
                    <a:pt x="157209" y="246889"/>
                  </a:lnTo>
                  <a:lnTo>
                    <a:pt x="135773" y="263490"/>
                  </a:lnTo>
                  <a:lnTo>
                    <a:pt x="103347" y="269928"/>
                  </a:lnTo>
                  <a:lnTo>
                    <a:pt x="181363" y="269928"/>
                  </a:lnTo>
                  <a:lnTo>
                    <a:pt x="199443" y="241605"/>
                  </a:lnTo>
                  <a:lnTo>
                    <a:pt x="206768" y="198915"/>
                  </a:lnTo>
                  <a:lnTo>
                    <a:pt x="206552" y="19308"/>
                  </a:lnTo>
                  <a:lnTo>
                    <a:pt x="206496" y="544"/>
                  </a:lnTo>
                  <a:lnTo>
                    <a:pt x="205962" y="20"/>
                  </a:lnTo>
                  <a:close/>
                </a:path>
                <a:path w="207010" h="302895" extrusionOk="0">
                  <a:moveTo>
                    <a:pt x="10701" y="0"/>
                  </a:moveTo>
                  <a:lnTo>
                    <a:pt x="6020" y="31"/>
                  </a:lnTo>
                  <a:lnTo>
                    <a:pt x="11026" y="31"/>
                  </a:lnTo>
                  <a:lnTo>
                    <a:pt x="10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Google Shape;189;p48"/>
            <p:cNvSpPr/>
            <p:nvPr/>
          </p:nvSpPr>
          <p:spPr>
            <a:xfrm>
              <a:off x="424394" y="385909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81" y="101634"/>
                  </a:moveTo>
                  <a:lnTo>
                    <a:pt x="74641" y="101634"/>
                  </a:lnTo>
                  <a:lnTo>
                    <a:pt x="106083" y="109131"/>
                  </a:lnTo>
                  <a:lnTo>
                    <a:pt x="145084" y="131399"/>
                  </a:lnTo>
                  <a:lnTo>
                    <a:pt x="189765" y="155922"/>
                  </a:lnTo>
                  <a:lnTo>
                    <a:pt x="226550" y="160239"/>
                  </a:lnTo>
                  <a:lnTo>
                    <a:pt x="254653" y="145763"/>
                  </a:lnTo>
                  <a:lnTo>
                    <a:pt x="273290" y="113902"/>
                  </a:lnTo>
                  <a:lnTo>
                    <a:pt x="279081" y="101634"/>
                  </a:lnTo>
                  <a:close/>
                </a:path>
                <a:path w="359409" h="160654" extrusionOk="0">
                  <a:moveTo>
                    <a:pt x="212998" y="0"/>
                  </a:moveTo>
                  <a:lnTo>
                    <a:pt x="162518" y="5224"/>
                  </a:lnTo>
                  <a:lnTo>
                    <a:pt x="112322" y="21446"/>
                  </a:lnTo>
                  <a:lnTo>
                    <a:pt x="67924" y="46857"/>
                  </a:lnTo>
                  <a:lnTo>
                    <a:pt x="30193" y="80129"/>
                  </a:lnTo>
                  <a:lnTo>
                    <a:pt x="0" y="119933"/>
                  </a:lnTo>
                  <a:lnTo>
                    <a:pt x="6106" y="121008"/>
                  </a:lnTo>
                  <a:lnTo>
                    <a:pt x="13031" y="119303"/>
                  </a:lnTo>
                  <a:lnTo>
                    <a:pt x="20976" y="115744"/>
                  </a:lnTo>
                  <a:lnTo>
                    <a:pt x="30145" y="111253"/>
                  </a:lnTo>
                  <a:lnTo>
                    <a:pt x="49686" y="103983"/>
                  </a:lnTo>
                  <a:lnTo>
                    <a:pt x="74641" y="101634"/>
                  </a:lnTo>
                  <a:lnTo>
                    <a:pt x="279081" y="101634"/>
                  </a:lnTo>
                  <a:lnTo>
                    <a:pt x="292344" y="73538"/>
                  </a:lnTo>
                  <a:lnTo>
                    <a:pt x="312455" y="53041"/>
                  </a:lnTo>
                  <a:lnTo>
                    <a:pt x="331565" y="45787"/>
                  </a:lnTo>
                  <a:lnTo>
                    <a:pt x="347622" y="45150"/>
                  </a:lnTo>
                  <a:lnTo>
                    <a:pt x="357129" y="45150"/>
                  </a:lnTo>
                  <a:lnTo>
                    <a:pt x="358952" y="44365"/>
                  </a:lnTo>
                  <a:lnTo>
                    <a:pt x="326124" y="25731"/>
                  </a:lnTo>
                  <a:lnTo>
                    <a:pt x="290275" y="11781"/>
                  </a:lnTo>
                  <a:lnTo>
                    <a:pt x="252276" y="3031"/>
                  </a:lnTo>
                  <a:lnTo>
                    <a:pt x="212998" y="0"/>
                  </a:lnTo>
                  <a:close/>
                </a:path>
                <a:path w="359409" h="160654" extrusionOk="0">
                  <a:moveTo>
                    <a:pt x="357129" y="45150"/>
                  </a:moveTo>
                  <a:lnTo>
                    <a:pt x="347622" y="45150"/>
                  </a:lnTo>
                  <a:lnTo>
                    <a:pt x="356376" y="45475"/>
                  </a:lnTo>
                  <a:lnTo>
                    <a:pt x="357129" y="451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Google Shape;190;p48"/>
            <p:cNvSpPr/>
            <p:nvPr/>
          </p:nvSpPr>
          <p:spPr>
            <a:xfrm>
              <a:off x="424395" y="385915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76" y="101633"/>
                  </a:moveTo>
                  <a:lnTo>
                    <a:pt x="74633" y="101633"/>
                  </a:lnTo>
                  <a:lnTo>
                    <a:pt x="106077" y="109131"/>
                  </a:lnTo>
                  <a:lnTo>
                    <a:pt x="145084" y="131399"/>
                  </a:lnTo>
                  <a:lnTo>
                    <a:pt x="189765" y="155921"/>
                  </a:lnTo>
                  <a:lnTo>
                    <a:pt x="226550" y="160238"/>
                  </a:lnTo>
                  <a:lnTo>
                    <a:pt x="254653" y="145758"/>
                  </a:lnTo>
                  <a:lnTo>
                    <a:pt x="273290" y="113891"/>
                  </a:lnTo>
                  <a:lnTo>
                    <a:pt x="279076" y="101633"/>
                  </a:lnTo>
                  <a:close/>
                </a:path>
                <a:path w="359409" h="160654" extrusionOk="0">
                  <a:moveTo>
                    <a:pt x="212988" y="0"/>
                  </a:moveTo>
                  <a:lnTo>
                    <a:pt x="162518" y="5214"/>
                  </a:lnTo>
                  <a:lnTo>
                    <a:pt x="112322" y="21440"/>
                  </a:lnTo>
                  <a:lnTo>
                    <a:pt x="67924" y="46851"/>
                  </a:lnTo>
                  <a:lnTo>
                    <a:pt x="30193" y="80124"/>
                  </a:lnTo>
                  <a:lnTo>
                    <a:pt x="0" y="119933"/>
                  </a:lnTo>
                  <a:lnTo>
                    <a:pt x="6106" y="121006"/>
                  </a:lnTo>
                  <a:lnTo>
                    <a:pt x="13031" y="119298"/>
                  </a:lnTo>
                  <a:lnTo>
                    <a:pt x="20976" y="115735"/>
                  </a:lnTo>
                  <a:lnTo>
                    <a:pt x="30145" y="111242"/>
                  </a:lnTo>
                  <a:lnTo>
                    <a:pt x="49680" y="103978"/>
                  </a:lnTo>
                  <a:lnTo>
                    <a:pt x="74633" y="101633"/>
                  </a:lnTo>
                  <a:lnTo>
                    <a:pt x="279076" y="101633"/>
                  </a:lnTo>
                  <a:lnTo>
                    <a:pt x="292342" y="73532"/>
                  </a:lnTo>
                  <a:lnTo>
                    <a:pt x="312455" y="53035"/>
                  </a:lnTo>
                  <a:lnTo>
                    <a:pt x="331568" y="45778"/>
                  </a:lnTo>
                  <a:lnTo>
                    <a:pt x="347622" y="45139"/>
                  </a:lnTo>
                  <a:lnTo>
                    <a:pt x="357132" y="45139"/>
                  </a:lnTo>
                  <a:lnTo>
                    <a:pt x="358962" y="44354"/>
                  </a:lnTo>
                  <a:lnTo>
                    <a:pt x="326129" y="25722"/>
                  </a:lnTo>
                  <a:lnTo>
                    <a:pt x="290279" y="11775"/>
                  </a:lnTo>
                  <a:lnTo>
                    <a:pt x="252276" y="3029"/>
                  </a:lnTo>
                  <a:lnTo>
                    <a:pt x="212988" y="0"/>
                  </a:lnTo>
                  <a:close/>
                </a:path>
                <a:path w="359409" h="160654" extrusionOk="0">
                  <a:moveTo>
                    <a:pt x="357132" y="45139"/>
                  </a:moveTo>
                  <a:lnTo>
                    <a:pt x="347622" y="45139"/>
                  </a:lnTo>
                  <a:lnTo>
                    <a:pt x="356376" y="45464"/>
                  </a:lnTo>
                  <a:lnTo>
                    <a:pt x="357132" y="45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Google Shape;191;p48"/>
            <p:cNvSpPr/>
            <p:nvPr/>
          </p:nvSpPr>
          <p:spPr>
            <a:xfrm>
              <a:off x="388141" y="471829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76" y="81522"/>
                  </a:moveTo>
                  <a:lnTo>
                    <a:pt x="8920" y="117624"/>
                  </a:lnTo>
                  <a:lnTo>
                    <a:pt x="0" y="188780"/>
                  </a:lnTo>
                  <a:lnTo>
                    <a:pt x="6086" y="225752"/>
                  </a:lnTo>
                  <a:lnTo>
                    <a:pt x="20970" y="268684"/>
                  </a:lnTo>
                  <a:lnTo>
                    <a:pt x="42648" y="307244"/>
                  </a:lnTo>
                  <a:lnTo>
                    <a:pt x="70253" y="340900"/>
                  </a:lnTo>
                  <a:lnTo>
                    <a:pt x="102915" y="369119"/>
                  </a:lnTo>
                  <a:lnTo>
                    <a:pt x="139767" y="391369"/>
                  </a:lnTo>
                  <a:lnTo>
                    <a:pt x="179940" y="407118"/>
                  </a:lnTo>
                  <a:lnTo>
                    <a:pt x="222565" y="415835"/>
                  </a:lnTo>
                  <a:lnTo>
                    <a:pt x="266775" y="416986"/>
                  </a:lnTo>
                  <a:lnTo>
                    <a:pt x="311700" y="410039"/>
                  </a:lnTo>
                  <a:lnTo>
                    <a:pt x="354634" y="395197"/>
                  </a:lnTo>
                  <a:lnTo>
                    <a:pt x="393129" y="373594"/>
                  </a:lnTo>
                  <a:lnTo>
                    <a:pt x="426673" y="346089"/>
                  </a:lnTo>
                  <a:lnTo>
                    <a:pt x="454752" y="313541"/>
                  </a:lnTo>
                  <a:lnTo>
                    <a:pt x="476854" y="276810"/>
                  </a:lnTo>
                  <a:lnTo>
                    <a:pt x="489166" y="245222"/>
                  </a:lnTo>
                  <a:lnTo>
                    <a:pt x="277441" y="245222"/>
                  </a:lnTo>
                  <a:lnTo>
                    <a:pt x="237962" y="242999"/>
                  </a:lnTo>
                  <a:lnTo>
                    <a:pt x="198668" y="226846"/>
                  </a:lnTo>
                  <a:lnTo>
                    <a:pt x="162891" y="198831"/>
                  </a:lnTo>
                  <a:lnTo>
                    <a:pt x="133967" y="161021"/>
                  </a:lnTo>
                  <a:lnTo>
                    <a:pt x="114325" y="124854"/>
                  </a:lnTo>
                  <a:lnTo>
                    <a:pt x="104289" y="109255"/>
                  </a:lnTo>
                  <a:lnTo>
                    <a:pt x="91455" y="94845"/>
                  </a:lnTo>
                  <a:lnTo>
                    <a:pt x="75799" y="84974"/>
                  </a:lnTo>
                  <a:lnTo>
                    <a:pt x="58476" y="81522"/>
                  </a:lnTo>
                  <a:close/>
                </a:path>
                <a:path w="502284" h="417194" extrusionOk="0">
                  <a:moveTo>
                    <a:pt x="416942" y="0"/>
                  </a:moveTo>
                  <a:lnTo>
                    <a:pt x="382472" y="29308"/>
                  </a:lnTo>
                  <a:lnTo>
                    <a:pt x="374088" y="67766"/>
                  </a:lnTo>
                  <a:lnTo>
                    <a:pt x="368364" y="112970"/>
                  </a:lnTo>
                  <a:lnTo>
                    <a:pt x="359980" y="158920"/>
                  </a:lnTo>
                  <a:lnTo>
                    <a:pt x="343615" y="199616"/>
                  </a:lnTo>
                  <a:lnTo>
                    <a:pt x="313770" y="231450"/>
                  </a:lnTo>
                  <a:lnTo>
                    <a:pt x="277441" y="245222"/>
                  </a:lnTo>
                  <a:lnTo>
                    <a:pt x="489166" y="245222"/>
                  </a:lnTo>
                  <a:lnTo>
                    <a:pt x="492466" y="236755"/>
                  </a:lnTo>
                  <a:lnTo>
                    <a:pt x="501075" y="194234"/>
                  </a:lnTo>
                  <a:lnTo>
                    <a:pt x="502168" y="150107"/>
                  </a:lnTo>
                  <a:lnTo>
                    <a:pt x="495233" y="105232"/>
                  </a:lnTo>
                  <a:lnTo>
                    <a:pt x="476074" y="52247"/>
                  </a:lnTo>
                  <a:lnTo>
                    <a:pt x="448763" y="14449"/>
                  </a:lnTo>
                  <a:lnTo>
                    <a:pt x="424210" y="814"/>
                  </a:lnTo>
                  <a:lnTo>
                    <a:pt x="4169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Google Shape;192;p48"/>
            <p:cNvSpPr/>
            <p:nvPr/>
          </p:nvSpPr>
          <p:spPr>
            <a:xfrm>
              <a:off x="388140" y="471828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81" y="81526"/>
                  </a:moveTo>
                  <a:lnTo>
                    <a:pt x="8917" y="117624"/>
                  </a:lnTo>
                  <a:lnTo>
                    <a:pt x="0" y="188784"/>
                  </a:lnTo>
                  <a:lnTo>
                    <a:pt x="6087" y="225762"/>
                  </a:lnTo>
                  <a:lnTo>
                    <a:pt x="20968" y="268691"/>
                  </a:lnTo>
                  <a:lnTo>
                    <a:pt x="42645" y="307249"/>
                  </a:lnTo>
                  <a:lnTo>
                    <a:pt x="70249" y="340903"/>
                  </a:lnTo>
                  <a:lnTo>
                    <a:pt x="102912" y="369121"/>
                  </a:lnTo>
                  <a:lnTo>
                    <a:pt x="139765" y="391370"/>
                  </a:lnTo>
                  <a:lnTo>
                    <a:pt x="179939" y="407119"/>
                  </a:lnTo>
                  <a:lnTo>
                    <a:pt x="222565" y="415835"/>
                  </a:lnTo>
                  <a:lnTo>
                    <a:pt x="266776" y="416986"/>
                  </a:lnTo>
                  <a:lnTo>
                    <a:pt x="311701" y="410039"/>
                  </a:lnTo>
                  <a:lnTo>
                    <a:pt x="354635" y="395197"/>
                  </a:lnTo>
                  <a:lnTo>
                    <a:pt x="393131" y="373594"/>
                  </a:lnTo>
                  <a:lnTo>
                    <a:pt x="426674" y="346089"/>
                  </a:lnTo>
                  <a:lnTo>
                    <a:pt x="454754" y="313542"/>
                  </a:lnTo>
                  <a:lnTo>
                    <a:pt x="476856" y="276812"/>
                  </a:lnTo>
                  <a:lnTo>
                    <a:pt x="489166" y="245228"/>
                  </a:lnTo>
                  <a:lnTo>
                    <a:pt x="277443" y="245228"/>
                  </a:lnTo>
                  <a:lnTo>
                    <a:pt x="237964" y="243004"/>
                  </a:lnTo>
                  <a:lnTo>
                    <a:pt x="198669" y="226851"/>
                  </a:lnTo>
                  <a:lnTo>
                    <a:pt x="162892" y="198835"/>
                  </a:lnTo>
                  <a:lnTo>
                    <a:pt x="133968" y="161021"/>
                  </a:lnTo>
                  <a:lnTo>
                    <a:pt x="114326" y="124858"/>
                  </a:lnTo>
                  <a:lnTo>
                    <a:pt x="104291" y="109256"/>
                  </a:lnTo>
                  <a:lnTo>
                    <a:pt x="91456" y="94845"/>
                  </a:lnTo>
                  <a:lnTo>
                    <a:pt x="75802" y="84975"/>
                  </a:lnTo>
                  <a:lnTo>
                    <a:pt x="58481" y="81526"/>
                  </a:lnTo>
                  <a:close/>
                </a:path>
                <a:path w="502284" h="417194" extrusionOk="0">
                  <a:moveTo>
                    <a:pt x="416944" y="0"/>
                  </a:moveTo>
                  <a:lnTo>
                    <a:pt x="382474" y="29308"/>
                  </a:lnTo>
                  <a:lnTo>
                    <a:pt x="374089" y="67764"/>
                  </a:lnTo>
                  <a:lnTo>
                    <a:pt x="368366" y="112967"/>
                  </a:lnTo>
                  <a:lnTo>
                    <a:pt x="359982" y="158920"/>
                  </a:lnTo>
                  <a:lnTo>
                    <a:pt x="343616" y="199627"/>
                  </a:lnTo>
                  <a:lnTo>
                    <a:pt x="313772" y="231457"/>
                  </a:lnTo>
                  <a:lnTo>
                    <a:pt x="277443" y="245228"/>
                  </a:lnTo>
                  <a:lnTo>
                    <a:pt x="489166" y="245228"/>
                  </a:lnTo>
                  <a:lnTo>
                    <a:pt x="492467" y="236758"/>
                  </a:lnTo>
                  <a:lnTo>
                    <a:pt x="501076" y="194239"/>
                  </a:lnTo>
                  <a:lnTo>
                    <a:pt x="502170" y="150114"/>
                  </a:lnTo>
                  <a:lnTo>
                    <a:pt x="495235" y="105242"/>
                  </a:lnTo>
                  <a:lnTo>
                    <a:pt x="476072" y="52248"/>
                  </a:lnTo>
                  <a:lnTo>
                    <a:pt x="448765" y="14449"/>
                  </a:lnTo>
                  <a:lnTo>
                    <a:pt x="424216" y="816"/>
                  </a:lnTo>
                  <a:lnTo>
                    <a:pt x="4169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93" name="Google Shape;193;p48"/>
          <p:cNvSpPr txBox="1">
            <a:spLocks noGrp="1"/>
          </p:cNvSpPr>
          <p:nvPr>
            <p:ph type="subTitle" idx="1"/>
          </p:nvPr>
        </p:nvSpPr>
        <p:spPr>
          <a:xfrm>
            <a:off x="6087449" y="130162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94" name="Google Shape;194;p48"/>
          <p:cNvSpPr txBox="1">
            <a:spLocks noGrp="1"/>
          </p:cNvSpPr>
          <p:nvPr>
            <p:ph type="body" idx="2"/>
          </p:nvPr>
        </p:nvSpPr>
        <p:spPr>
          <a:xfrm>
            <a:off x="6087449" y="169735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95" name="Google Shape;195;p48"/>
          <p:cNvSpPr txBox="1">
            <a:spLocks noGrp="1"/>
          </p:cNvSpPr>
          <p:nvPr>
            <p:ph type="subTitle" idx="3"/>
          </p:nvPr>
        </p:nvSpPr>
        <p:spPr>
          <a:xfrm>
            <a:off x="6087449" y="2813201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96" name="Google Shape;196;p48"/>
          <p:cNvSpPr txBox="1">
            <a:spLocks noGrp="1"/>
          </p:cNvSpPr>
          <p:nvPr>
            <p:ph type="body" idx="4"/>
          </p:nvPr>
        </p:nvSpPr>
        <p:spPr>
          <a:xfrm>
            <a:off x="6087449" y="3208930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97" name="Google Shape;197;p48"/>
          <p:cNvSpPr txBox="1">
            <a:spLocks noGrp="1"/>
          </p:cNvSpPr>
          <p:nvPr>
            <p:ph type="subTitle" idx="5"/>
          </p:nvPr>
        </p:nvSpPr>
        <p:spPr>
          <a:xfrm>
            <a:off x="6087449" y="432172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98" name="Google Shape;198;p48"/>
          <p:cNvSpPr txBox="1">
            <a:spLocks noGrp="1"/>
          </p:cNvSpPr>
          <p:nvPr>
            <p:ph type="body" idx="6"/>
          </p:nvPr>
        </p:nvSpPr>
        <p:spPr>
          <a:xfrm>
            <a:off x="6087449" y="4717459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99" name="Google Shape;199;p48"/>
          <p:cNvSpPr txBox="1">
            <a:spLocks noGrp="1"/>
          </p:cNvSpPr>
          <p:nvPr>
            <p:ph type="subTitle" idx="7"/>
          </p:nvPr>
        </p:nvSpPr>
        <p:spPr>
          <a:xfrm>
            <a:off x="9038903" y="130162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00" name="Google Shape;200;p48"/>
          <p:cNvSpPr txBox="1">
            <a:spLocks noGrp="1"/>
          </p:cNvSpPr>
          <p:nvPr>
            <p:ph type="body" idx="8"/>
          </p:nvPr>
        </p:nvSpPr>
        <p:spPr>
          <a:xfrm>
            <a:off x="9038903" y="169735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01" name="Google Shape;201;p48"/>
          <p:cNvSpPr txBox="1">
            <a:spLocks noGrp="1"/>
          </p:cNvSpPr>
          <p:nvPr>
            <p:ph type="subTitle" idx="9"/>
          </p:nvPr>
        </p:nvSpPr>
        <p:spPr>
          <a:xfrm>
            <a:off x="9038903" y="2813201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02" name="Google Shape;202;p48"/>
          <p:cNvSpPr txBox="1">
            <a:spLocks noGrp="1"/>
          </p:cNvSpPr>
          <p:nvPr>
            <p:ph type="body" idx="13"/>
          </p:nvPr>
        </p:nvSpPr>
        <p:spPr>
          <a:xfrm>
            <a:off x="9038903" y="3208930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03" name="Google Shape;203;p48"/>
          <p:cNvSpPr txBox="1">
            <a:spLocks noGrp="1"/>
          </p:cNvSpPr>
          <p:nvPr>
            <p:ph type="subTitle" idx="14"/>
          </p:nvPr>
        </p:nvSpPr>
        <p:spPr>
          <a:xfrm>
            <a:off x="9038903" y="432172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04" name="Google Shape;204;p48"/>
          <p:cNvSpPr txBox="1">
            <a:spLocks noGrp="1"/>
          </p:cNvSpPr>
          <p:nvPr>
            <p:ph type="body" idx="15"/>
          </p:nvPr>
        </p:nvSpPr>
        <p:spPr>
          <a:xfrm>
            <a:off x="9038903" y="4717459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05" name="Google Shape;205;p48"/>
          <p:cNvSpPr txBox="1">
            <a:spLocks noGrp="1"/>
          </p:cNvSpPr>
          <p:nvPr>
            <p:ph type="title"/>
          </p:nvPr>
        </p:nvSpPr>
        <p:spPr>
          <a:xfrm>
            <a:off x="643679" y="1121888"/>
            <a:ext cx="4944940" cy="2022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22127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dern Developer White">
  <p:cSld name="Modern Developer White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49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8" name="Google Shape;208;p49"/>
          <p:cNvPicPr preferRelativeResize="0"/>
          <p:nvPr/>
        </p:nvPicPr>
        <p:blipFill rotWithShape="1">
          <a:blip r:embed="rId2">
            <a:alphaModFix/>
          </a:blip>
          <a:srcRect l="66044" t="1096"/>
          <a:stretch/>
        </p:blipFill>
        <p:spPr>
          <a:xfrm rot="-5400000">
            <a:off x="3720986" y="3836031"/>
            <a:ext cx="1933903" cy="416394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" name="Google Shape;209;p49"/>
          <p:cNvPicPr preferRelativeResize="0"/>
          <p:nvPr/>
        </p:nvPicPr>
        <p:blipFill rotWithShape="1">
          <a:blip r:embed="rId2">
            <a:alphaModFix/>
          </a:blip>
          <a:srcRect l="26411" t="31365"/>
          <a:stretch/>
        </p:blipFill>
        <p:spPr>
          <a:xfrm rot="-5400000">
            <a:off x="-716251" y="2987452"/>
            <a:ext cx="4613756" cy="3181251"/>
          </a:xfrm>
          <a:prstGeom prst="rect">
            <a:avLst/>
          </a:prstGeom>
          <a:noFill/>
          <a:ln>
            <a:noFill/>
          </a:ln>
        </p:spPr>
      </p:pic>
      <p:sp>
        <p:nvSpPr>
          <p:cNvPr id="210" name="Google Shape;210;p49"/>
          <p:cNvSpPr/>
          <p:nvPr/>
        </p:nvSpPr>
        <p:spPr>
          <a:xfrm>
            <a:off x="9162239" y="5877026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49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49"/>
          <p:cNvSpPr txBox="1">
            <a:spLocks noGrp="1"/>
          </p:cNvSpPr>
          <p:nvPr>
            <p:ph type="subTitle" idx="1"/>
          </p:nvPr>
        </p:nvSpPr>
        <p:spPr>
          <a:xfrm>
            <a:off x="6087449" y="130162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13" name="Google Shape;213;p49"/>
          <p:cNvSpPr txBox="1">
            <a:spLocks noGrp="1"/>
          </p:cNvSpPr>
          <p:nvPr>
            <p:ph type="body" idx="2"/>
          </p:nvPr>
        </p:nvSpPr>
        <p:spPr>
          <a:xfrm>
            <a:off x="6087449" y="169735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14" name="Google Shape;214;p49"/>
          <p:cNvSpPr txBox="1">
            <a:spLocks noGrp="1"/>
          </p:cNvSpPr>
          <p:nvPr>
            <p:ph type="subTitle" idx="3"/>
          </p:nvPr>
        </p:nvSpPr>
        <p:spPr>
          <a:xfrm>
            <a:off x="6087449" y="2813201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15" name="Google Shape;215;p49"/>
          <p:cNvSpPr txBox="1">
            <a:spLocks noGrp="1"/>
          </p:cNvSpPr>
          <p:nvPr>
            <p:ph type="body" idx="4"/>
          </p:nvPr>
        </p:nvSpPr>
        <p:spPr>
          <a:xfrm>
            <a:off x="6087449" y="3208930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16" name="Google Shape;216;p49"/>
          <p:cNvSpPr txBox="1">
            <a:spLocks noGrp="1"/>
          </p:cNvSpPr>
          <p:nvPr>
            <p:ph type="subTitle" idx="5"/>
          </p:nvPr>
        </p:nvSpPr>
        <p:spPr>
          <a:xfrm>
            <a:off x="6087449" y="432172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17" name="Google Shape;217;p49"/>
          <p:cNvSpPr txBox="1">
            <a:spLocks noGrp="1"/>
          </p:cNvSpPr>
          <p:nvPr>
            <p:ph type="body" idx="6"/>
          </p:nvPr>
        </p:nvSpPr>
        <p:spPr>
          <a:xfrm>
            <a:off x="6087449" y="4717459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18" name="Google Shape;218;p49"/>
          <p:cNvSpPr txBox="1">
            <a:spLocks noGrp="1"/>
          </p:cNvSpPr>
          <p:nvPr>
            <p:ph type="subTitle" idx="7"/>
          </p:nvPr>
        </p:nvSpPr>
        <p:spPr>
          <a:xfrm>
            <a:off x="9038903" y="130162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19" name="Google Shape;219;p49"/>
          <p:cNvSpPr txBox="1">
            <a:spLocks noGrp="1"/>
          </p:cNvSpPr>
          <p:nvPr>
            <p:ph type="body" idx="8"/>
          </p:nvPr>
        </p:nvSpPr>
        <p:spPr>
          <a:xfrm>
            <a:off x="9038903" y="169735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20" name="Google Shape;220;p49"/>
          <p:cNvSpPr txBox="1">
            <a:spLocks noGrp="1"/>
          </p:cNvSpPr>
          <p:nvPr>
            <p:ph type="subTitle" idx="9"/>
          </p:nvPr>
        </p:nvSpPr>
        <p:spPr>
          <a:xfrm>
            <a:off x="9038903" y="2813201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21" name="Google Shape;221;p49"/>
          <p:cNvSpPr txBox="1">
            <a:spLocks noGrp="1"/>
          </p:cNvSpPr>
          <p:nvPr>
            <p:ph type="body" idx="13"/>
          </p:nvPr>
        </p:nvSpPr>
        <p:spPr>
          <a:xfrm>
            <a:off x="9038903" y="3208930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22" name="Google Shape;222;p49"/>
          <p:cNvSpPr txBox="1">
            <a:spLocks noGrp="1"/>
          </p:cNvSpPr>
          <p:nvPr>
            <p:ph type="subTitle" idx="14"/>
          </p:nvPr>
        </p:nvSpPr>
        <p:spPr>
          <a:xfrm>
            <a:off x="9038903" y="432172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23" name="Google Shape;223;p49"/>
          <p:cNvSpPr txBox="1">
            <a:spLocks noGrp="1"/>
          </p:cNvSpPr>
          <p:nvPr>
            <p:ph type="body" idx="15"/>
          </p:nvPr>
        </p:nvSpPr>
        <p:spPr>
          <a:xfrm>
            <a:off x="9038903" y="4717459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008654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rchestration blue slide">
  <p:cSld name="orchestration blue slide"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50"/>
          <p:cNvSpPr/>
          <p:nvPr/>
        </p:nvSpPr>
        <p:spPr>
          <a:xfrm>
            <a:off x="3567373" y="-23104"/>
            <a:ext cx="8632328" cy="4654869"/>
          </a:xfrm>
          <a:custGeom>
            <a:avLst/>
            <a:gdLst/>
            <a:ahLst/>
            <a:cxnLst/>
            <a:rect l="l" t="t" r="r" b="b"/>
            <a:pathLst>
              <a:path w="569374" h="307049" extrusionOk="0">
                <a:moveTo>
                  <a:pt x="130539" y="0"/>
                </a:moveTo>
                <a:lnTo>
                  <a:pt x="0" y="307049"/>
                </a:lnTo>
                <a:lnTo>
                  <a:pt x="569374" y="306324"/>
                </a:lnTo>
                <a:lnTo>
                  <a:pt x="568831" y="1027"/>
                </a:lnTo>
                <a:close/>
              </a:path>
            </a:pathLst>
          </a:custGeom>
          <a:gradFill>
            <a:gsLst>
              <a:gs pos="0">
                <a:srgbClr val="00C8B0"/>
              </a:gs>
              <a:gs pos="100000">
                <a:srgbClr val="5F4695"/>
              </a:gs>
            </a:gsLst>
            <a:lin ang="2698631" scaled="0"/>
          </a:gradFill>
          <a:ln>
            <a:noFill/>
          </a:ln>
        </p:spPr>
      </p:sp>
      <p:pic>
        <p:nvPicPr>
          <p:cNvPr id="226" name="Google Shape;226;p50"/>
          <p:cNvPicPr preferRelativeResize="0"/>
          <p:nvPr/>
        </p:nvPicPr>
        <p:blipFill rotWithShape="1">
          <a:blip r:embed="rId2">
            <a:alphaModFix amt="22000"/>
          </a:blip>
          <a:srcRect l="2020" t="780" r="787" b="-779"/>
          <a:stretch/>
        </p:blipFill>
        <p:spPr>
          <a:xfrm rot="10800000">
            <a:off x="4191692" y="1386233"/>
            <a:ext cx="3389883" cy="3245367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Google Shape;227;p50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8" name="Google Shape;228;p50"/>
          <p:cNvSpPr txBox="1">
            <a:spLocks noGrp="1"/>
          </p:cNvSpPr>
          <p:nvPr>
            <p:ph type="subTitle" idx="1"/>
          </p:nvPr>
        </p:nvSpPr>
        <p:spPr>
          <a:xfrm>
            <a:off x="656641" y="4957790"/>
            <a:ext cx="2218128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29" name="Google Shape;229;p50"/>
          <p:cNvSpPr txBox="1">
            <a:spLocks noGrp="1"/>
          </p:cNvSpPr>
          <p:nvPr>
            <p:ph type="body" idx="2"/>
          </p:nvPr>
        </p:nvSpPr>
        <p:spPr>
          <a:xfrm>
            <a:off x="656641" y="5353512"/>
            <a:ext cx="2218128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30" name="Google Shape;230;p50"/>
          <p:cNvSpPr txBox="1">
            <a:spLocks noGrp="1"/>
          </p:cNvSpPr>
          <p:nvPr>
            <p:ph type="subTitle" idx="3"/>
          </p:nvPr>
        </p:nvSpPr>
        <p:spPr>
          <a:xfrm>
            <a:off x="3353465" y="4957790"/>
            <a:ext cx="2218128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31" name="Google Shape;231;p50"/>
          <p:cNvSpPr txBox="1">
            <a:spLocks noGrp="1"/>
          </p:cNvSpPr>
          <p:nvPr>
            <p:ph type="body" idx="4"/>
          </p:nvPr>
        </p:nvSpPr>
        <p:spPr>
          <a:xfrm>
            <a:off x="3353465" y="5353512"/>
            <a:ext cx="2218128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32" name="Google Shape;232;p50"/>
          <p:cNvSpPr txBox="1">
            <a:spLocks noGrp="1"/>
          </p:cNvSpPr>
          <p:nvPr>
            <p:ph type="subTitle" idx="5"/>
          </p:nvPr>
        </p:nvSpPr>
        <p:spPr>
          <a:xfrm>
            <a:off x="6150276" y="4957790"/>
            <a:ext cx="2218128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33" name="Google Shape;233;p50"/>
          <p:cNvSpPr txBox="1">
            <a:spLocks noGrp="1"/>
          </p:cNvSpPr>
          <p:nvPr>
            <p:ph type="body" idx="6"/>
          </p:nvPr>
        </p:nvSpPr>
        <p:spPr>
          <a:xfrm>
            <a:off x="6150276" y="5353512"/>
            <a:ext cx="2218128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34" name="Google Shape;234;p50"/>
          <p:cNvSpPr txBox="1">
            <a:spLocks noGrp="1"/>
          </p:cNvSpPr>
          <p:nvPr>
            <p:ph type="subTitle" idx="7"/>
          </p:nvPr>
        </p:nvSpPr>
        <p:spPr>
          <a:xfrm>
            <a:off x="9053488" y="4957790"/>
            <a:ext cx="2218128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35" name="Google Shape;235;p50"/>
          <p:cNvSpPr txBox="1">
            <a:spLocks noGrp="1"/>
          </p:cNvSpPr>
          <p:nvPr>
            <p:ph type="body" idx="8"/>
          </p:nvPr>
        </p:nvSpPr>
        <p:spPr>
          <a:xfrm>
            <a:off x="9053488" y="5353512"/>
            <a:ext cx="2218128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pic>
        <p:nvPicPr>
          <p:cNvPr id="236" name="Google Shape;236;p50"/>
          <p:cNvPicPr preferRelativeResize="0"/>
          <p:nvPr/>
        </p:nvPicPr>
        <p:blipFill rotWithShape="1">
          <a:blip r:embed="rId4">
            <a:alphaModFix/>
          </a:blip>
          <a:srcRect l="44713" t="-553" r="-1180" b="12626"/>
          <a:stretch/>
        </p:blipFill>
        <p:spPr>
          <a:xfrm flipH="1">
            <a:off x="8627222" y="-23104"/>
            <a:ext cx="3564780" cy="46545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88612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rchestration white slide">
  <p:cSld name="orchestration white slide"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52"/>
          <p:cNvSpPr/>
          <p:nvPr/>
        </p:nvSpPr>
        <p:spPr>
          <a:xfrm>
            <a:off x="633355" y="6060992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4" name="Google Shape;254;p52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5" name="Google Shape;255;p52"/>
          <p:cNvSpPr txBox="1">
            <a:spLocks noGrp="1"/>
          </p:cNvSpPr>
          <p:nvPr>
            <p:ph type="subTitle" idx="1"/>
          </p:nvPr>
        </p:nvSpPr>
        <p:spPr>
          <a:xfrm>
            <a:off x="633719" y="2804529"/>
            <a:ext cx="2384415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56" name="Google Shape;256;p52"/>
          <p:cNvSpPr txBox="1">
            <a:spLocks noGrp="1"/>
          </p:cNvSpPr>
          <p:nvPr>
            <p:ph type="body" idx="2"/>
          </p:nvPr>
        </p:nvSpPr>
        <p:spPr>
          <a:xfrm>
            <a:off x="633719" y="3200260"/>
            <a:ext cx="2384415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57" name="Google Shape;257;p52"/>
          <p:cNvSpPr txBox="1">
            <a:spLocks noGrp="1"/>
          </p:cNvSpPr>
          <p:nvPr>
            <p:ph type="subTitle" idx="3"/>
          </p:nvPr>
        </p:nvSpPr>
        <p:spPr>
          <a:xfrm>
            <a:off x="633719" y="4415311"/>
            <a:ext cx="2384415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58" name="Google Shape;258;p52"/>
          <p:cNvSpPr txBox="1">
            <a:spLocks noGrp="1"/>
          </p:cNvSpPr>
          <p:nvPr>
            <p:ph type="body" idx="4"/>
          </p:nvPr>
        </p:nvSpPr>
        <p:spPr>
          <a:xfrm>
            <a:off x="633719" y="4811043"/>
            <a:ext cx="2384415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59" name="Google Shape;259;p52"/>
          <p:cNvSpPr txBox="1">
            <a:spLocks noGrp="1"/>
          </p:cNvSpPr>
          <p:nvPr>
            <p:ph type="subTitle" idx="5"/>
          </p:nvPr>
        </p:nvSpPr>
        <p:spPr>
          <a:xfrm>
            <a:off x="3145365" y="2804529"/>
            <a:ext cx="2384415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60" name="Google Shape;260;p52"/>
          <p:cNvSpPr txBox="1">
            <a:spLocks noGrp="1"/>
          </p:cNvSpPr>
          <p:nvPr>
            <p:ph type="body" idx="6"/>
          </p:nvPr>
        </p:nvSpPr>
        <p:spPr>
          <a:xfrm>
            <a:off x="3145365" y="3200260"/>
            <a:ext cx="2384415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61" name="Google Shape;261;p52"/>
          <p:cNvSpPr txBox="1">
            <a:spLocks noGrp="1"/>
          </p:cNvSpPr>
          <p:nvPr>
            <p:ph type="subTitle" idx="7"/>
          </p:nvPr>
        </p:nvSpPr>
        <p:spPr>
          <a:xfrm>
            <a:off x="3145365" y="4415311"/>
            <a:ext cx="2384415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62" name="Google Shape;262;p52"/>
          <p:cNvSpPr txBox="1">
            <a:spLocks noGrp="1"/>
          </p:cNvSpPr>
          <p:nvPr>
            <p:ph type="body" idx="8"/>
          </p:nvPr>
        </p:nvSpPr>
        <p:spPr>
          <a:xfrm>
            <a:off x="3145365" y="4811043"/>
            <a:ext cx="2384415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257711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est-for-Purpose partners v1">
  <p:cSld name="Best-for-Purpose partners v1"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4" name="Google Shape;264;p53"/>
          <p:cNvPicPr preferRelativeResize="0"/>
          <p:nvPr/>
        </p:nvPicPr>
        <p:blipFill rotWithShape="1">
          <a:blip r:embed="rId2">
            <a:alphaModFix/>
          </a:blip>
          <a:srcRect l="60845" b="13858"/>
          <a:stretch/>
        </p:blipFill>
        <p:spPr>
          <a:xfrm flipH="1">
            <a:off x="10005850" y="18444"/>
            <a:ext cx="2200389" cy="3578205"/>
          </a:xfrm>
          <a:prstGeom prst="rect">
            <a:avLst/>
          </a:prstGeom>
          <a:noFill/>
          <a:ln>
            <a:noFill/>
          </a:ln>
        </p:spPr>
      </p:pic>
      <p:sp>
        <p:nvSpPr>
          <p:cNvPr id="265" name="Google Shape;265;p53"/>
          <p:cNvSpPr/>
          <p:nvPr/>
        </p:nvSpPr>
        <p:spPr>
          <a:xfrm>
            <a:off x="554533" y="2479877"/>
            <a:ext cx="2596548" cy="2034596"/>
          </a:xfrm>
          <a:prstGeom prst="roundRect">
            <a:avLst>
              <a:gd name="adj" fmla="val 3862"/>
            </a:avLst>
          </a:prstGeom>
          <a:solidFill>
            <a:srgbClr val="FFFFFF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53"/>
          <p:cNvSpPr/>
          <p:nvPr/>
        </p:nvSpPr>
        <p:spPr>
          <a:xfrm>
            <a:off x="3362073" y="2479877"/>
            <a:ext cx="2596548" cy="2034596"/>
          </a:xfrm>
          <a:prstGeom prst="roundRect">
            <a:avLst>
              <a:gd name="adj" fmla="val 3862"/>
            </a:avLst>
          </a:prstGeom>
          <a:solidFill>
            <a:srgbClr val="FFFFFF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3"/>
          <p:cNvSpPr/>
          <p:nvPr/>
        </p:nvSpPr>
        <p:spPr>
          <a:xfrm>
            <a:off x="6169613" y="2479877"/>
            <a:ext cx="2596548" cy="2034596"/>
          </a:xfrm>
          <a:prstGeom prst="roundRect">
            <a:avLst>
              <a:gd name="adj" fmla="val 3862"/>
            </a:avLst>
          </a:prstGeom>
          <a:solidFill>
            <a:srgbClr val="FFFFFF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3"/>
          <p:cNvSpPr/>
          <p:nvPr/>
        </p:nvSpPr>
        <p:spPr>
          <a:xfrm>
            <a:off x="8977153" y="2479877"/>
            <a:ext cx="2596548" cy="2034596"/>
          </a:xfrm>
          <a:prstGeom prst="roundRect">
            <a:avLst>
              <a:gd name="adj" fmla="val 3862"/>
            </a:avLst>
          </a:prstGeom>
          <a:solidFill>
            <a:srgbClr val="FFFFFF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9" name="Google Shape;269;p53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53"/>
          <p:cNvSpPr txBox="1">
            <a:spLocks noGrp="1"/>
          </p:cNvSpPr>
          <p:nvPr>
            <p:ph type="subTitle" idx="1"/>
          </p:nvPr>
        </p:nvSpPr>
        <p:spPr>
          <a:xfrm>
            <a:off x="554533" y="1513683"/>
            <a:ext cx="8211548" cy="799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25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Medium"/>
              <a:buNone/>
              <a:defRPr sz="1819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9pPr>
          </a:lstStyle>
          <a:p>
            <a:endParaRPr/>
          </a:p>
        </p:txBody>
      </p:sp>
      <p:sp>
        <p:nvSpPr>
          <p:cNvPr id="271" name="Google Shape;271;p53"/>
          <p:cNvSpPr txBox="1">
            <a:spLocks noGrp="1"/>
          </p:cNvSpPr>
          <p:nvPr>
            <p:ph type="subTitle" idx="2"/>
          </p:nvPr>
        </p:nvSpPr>
        <p:spPr>
          <a:xfrm>
            <a:off x="752567" y="2762581"/>
            <a:ext cx="2200480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72" name="Google Shape;272;p53"/>
          <p:cNvSpPr txBox="1">
            <a:spLocks noGrp="1"/>
          </p:cNvSpPr>
          <p:nvPr>
            <p:ph type="body" idx="3"/>
          </p:nvPr>
        </p:nvSpPr>
        <p:spPr>
          <a:xfrm>
            <a:off x="752567" y="3158312"/>
            <a:ext cx="2200480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73" name="Google Shape;273;p53"/>
          <p:cNvSpPr txBox="1">
            <a:spLocks noGrp="1"/>
          </p:cNvSpPr>
          <p:nvPr>
            <p:ph type="subTitle" idx="4"/>
          </p:nvPr>
        </p:nvSpPr>
        <p:spPr>
          <a:xfrm>
            <a:off x="3560104" y="2762581"/>
            <a:ext cx="2200480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74" name="Google Shape;274;p53"/>
          <p:cNvSpPr txBox="1">
            <a:spLocks noGrp="1"/>
          </p:cNvSpPr>
          <p:nvPr>
            <p:ph type="body" idx="5"/>
          </p:nvPr>
        </p:nvSpPr>
        <p:spPr>
          <a:xfrm>
            <a:off x="3560104" y="3158312"/>
            <a:ext cx="2200480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75" name="Google Shape;275;p53"/>
          <p:cNvSpPr txBox="1">
            <a:spLocks noGrp="1"/>
          </p:cNvSpPr>
          <p:nvPr>
            <p:ph type="subTitle" idx="6"/>
          </p:nvPr>
        </p:nvSpPr>
        <p:spPr>
          <a:xfrm>
            <a:off x="6367641" y="2762581"/>
            <a:ext cx="2200480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76" name="Google Shape;276;p53"/>
          <p:cNvSpPr txBox="1">
            <a:spLocks noGrp="1"/>
          </p:cNvSpPr>
          <p:nvPr>
            <p:ph type="body" idx="7"/>
          </p:nvPr>
        </p:nvSpPr>
        <p:spPr>
          <a:xfrm>
            <a:off x="6367641" y="3158312"/>
            <a:ext cx="2200480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77" name="Google Shape;277;p53"/>
          <p:cNvSpPr txBox="1">
            <a:spLocks noGrp="1"/>
          </p:cNvSpPr>
          <p:nvPr>
            <p:ph type="subTitle" idx="8"/>
          </p:nvPr>
        </p:nvSpPr>
        <p:spPr>
          <a:xfrm>
            <a:off x="9175171" y="2762581"/>
            <a:ext cx="2200480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78" name="Google Shape;278;p53"/>
          <p:cNvSpPr txBox="1">
            <a:spLocks noGrp="1"/>
          </p:cNvSpPr>
          <p:nvPr>
            <p:ph type="body" idx="9"/>
          </p:nvPr>
        </p:nvSpPr>
        <p:spPr>
          <a:xfrm>
            <a:off x="9175171" y="3158312"/>
            <a:ext cx="2200480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430373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vOps security v2">
  <p:cSld name="DevOps security v2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8065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de title x2 cols dark">
  <p:cSld name="Side title x2 cols dark">
    <p:bg>
      <p:bgPr>
        <a:solidFill>
          <a:srgbClr val="212121"/>
        </a:solidFill>
        <a:effectLst/>
      </p:bgPr>
    </p:bg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3" name="Google Shape;283;p55"/>
          <p:cNvPicPr preferRelativeResize="0"/>
          <p:nvPr/>
        </p:nvPicPr>
        <p:blipFill rotWithShape="1">
          <a:blip r:embed="rId2">
            <a:alphaModFix/>
          </a:blip>
          <a:srcRect t="-38" b="2239"/>
          <a:stretch/>
        </p:blipFill>
        <p:spPr>
          <a:xfrm rot="5400000">
            <a:off x="-713557" y="713557"/>
            <a:ext cx="5152164" cy="3725048"/>
          </a:xfrm>
          <a:prstGeom prst="rect">
            <a:avLst/>
          </a:prstGeom>
          <a:noFill/>
          <a:ln>
            <a:noFill/>
          </a:ln>
        </p:spPr>
      </p:pic>
      <p:sp>
        <p:nvSpPr>
          <p:cNvPr id="284" name="Google Shape;284;p55"/>
          <p:cNvSpPr/>
          <p:nvPr/>
        </p:nvSpPr>
        <p:spPr>
          <a:xfrm>
            <a:off x="804827" y="5852224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5" name="Google Shape;285;p55"/>
          <p:cNvSpPr txBox="1">
            <a:spLocks noGrp="1"/>
          </p:cNvSpPr>
          <p:nvPr>
            <p:ph type="title"/>
          </p:nvPr>
        </p:nvSpPr>
        <p:spPr>
          <a:xfrm>
            <a:off x="644543" y="1383079"/>
            <a:ext cx="3464005" cy="32232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286" name="Google Shape;286;p55"/>
          <p:cNvSpPr txBox="1">
            <a:spLocks noGrp="1"/>
          </p:cNvSpPr>
          <p:nvPr>
            <p:ph type="body" idx="1"/>
          </p:nvPr>
        </p:nvSpPr>
        <p:spPr>
          <a:xfrm>
            <a:off x="4852108" y="1461548"/>
            <a:ext cx="3046651" cy="4390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87" name="Google Shape;287;p55"/>
          <p:cNvSpPr txBox="1">
            <a:spLocks noGrp="1"/>
          </p:cNvSpPr>
          <p:nvPr>
            <p:ph type="body" idx="2"/>
          </p:nvPr>
        </p:nvSpPr>
        <p:spPr>
          <a:xfrm>
            <a:off x="8512541" y="1461549"/>
            <a:ext cx="3046651" cy="43677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288" name="Google Shape;288;p5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9301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bg>
      <p:bgPr>
        <a:solidFill>
          <a:schemeClr val="lt1"/>
        </a:solid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3976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nking  level security dark">
  <p:cSld name="Banking  level security dark">
    <p:bg>
      <p:bgPr>
        <a:solidFill>
          <a:srgbClr val="212121"/>
        </a:solidFill>
        <a:effectLst/>
      </p:bgPr>
    </p:bg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0" name="Google Shape;290;p56"/>
          <p:cNvPicPr preferRelativeResize="0"/>
          <p:nvPr/>
        </p:nvPicPr>
        <p:blipFill rotWithShape="1">
          <a:blip r:embed="rId2">
            <a:alphaModFix/>
          </a:blip>
          <a:srcRect t="-38" b="2239"/>
          <a:stretch/>
        </p:blipFill>
        <p:spPr>
          <a:xfrm rot="5400000">
            <a:off x="-713557" y="713557"/>
            <a:ext cx="5152164" cy="3725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291" name="Google Shape;291;p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75218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nking  level security white">
  <p:cSld name="Banking  level security white">
    <p:bg>
      <p:bgPr>
        <a:solidFill>
          <a:schemeClr val="lt1"/>
        </a:solidFill>
        <a:effectLst/>
      </p:bgPr>
    </p:bg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3" name="Google Shape;293;p57"/>
          <p:cNvPicPr preferRelativeResize="0"/>
          <p:nvPr/>
        </p:nvPicPr>
        <p:blipFill rotWithShape="1">
          <a:blip r:embed="rId2">
            <a:alphaModFix/>
          </a:blip>
          <a:srcRect l="61613"/>
          <a:stretch/>
        </p:blipFill>
        <p:spPr>
          <a:xfrm rot="5400000" flipH="1">
            <a:off x="9857067" y="4553936"/>
            <a:ext cx="1365767" cy="33040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4" name="Google Shape;294;p57"/>
          <p:cNvPicPr preferRelativeResize="0"/>
          <p:nvPr/>
        </p:nvPicPr>
        <p:blipFill rotWithShape="1">
          <a:blip r:embed="rId3">
            <a:alphaModFix/>
          </a:blip>
          <a:srcRect l="374" t="708" r="42891" b="442"/>
          <a:stretch/>
        </p:blipFill>
        <p:spPr>
          <a:xfrm rot="10800000">
            <a:off x="1" y="2449011"/>
            <a:ext cx="2938249" cy="4424392"/>
          </a:xfrm>
          <a:prstGeom prst="rect">
            <a:avLst/>
          </a:prstGeom>
          <a:noFill/>
          <a:ln>
            <a:noFill/>
          </a:ln>
        </p:spPr>
      </p:pic>
      <p:sp>
        <p:nvSpPr>
          <p:cNvPr id="295" name="Google Shape;295;p57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58340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hilosophy dark">
  <p:cSld name="philosophy dark">
    <p:bg>
      <p:bgPr>
        <a:solidFill>
          <a:srgbClr val="212121"/>
        </a:solidFill>
        <a:effectLst/>
      </p:bgPr>
    </p:bg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" name="Google Shape;297;p58"/>
          <p:cNvPicPr preferRelativeResize="0"/>
          <p:nvPr/>
        </p:nvPicPr>
        <p:blipFill rotWithShape="1">
          <a:blip r:embed="rId2">
            <a:alphaModFix/>
          </a:blip>
          <a:srcRect l="-2183" t="-2370" r="25521" b="56063"/>
          <a:stretch/>
        </p:blipFill>
        <p:spPr>
          <a:xfrm>
            <a:off x="4999400" y="3215473"/>
            <a:ext cx="7192601" cy="3642529"/>
          </a:xfrm>
          <a:prstGeom prst="rect">
            <a:avLst/>
          </a:prstGeom>
          <a:noFill/>
          <a:ln>
            <a:noFill/>
          </a:ln>
        </p:spPr>
      </p:pic>
      <p:pic>
        <p:nvPicPr>
          <p:cNvPr id="298" name="Google Shape;298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97817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inciples slide">
  <p:cSld name="principles slide"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0" name="Google Shape;300;p60"/>
          <p:cNvPicPr preferRelativeResize="0"/>
          <p:nvPr/>
        </p:nvPicPr>
        <p:blipFill rotWithShape="1">
          <a:blip r:embed="rId2">
            <a:alphaModFix/>
          </a:blip>
          <a:srcRect l="12757" t="21486" r="53087" b="-3621"/>
          <a:stretch/>
        </p:blipFill>
        <p:spPr>
          <a:xfrm rot="5400000">
            <a:off x="8863098" y="3521397"/>
            <a:ext cx="2207103" cy="4450703"/>
          </a:xfrm>
          <a:prstGeom prst="rect">
            <a:avLst/>
          </a:prstGeom>
          <a:noFill/>
          <a:ln>
            <a:noFill/>
          </a:ln>
        </p:spPr>
      </p:pic>
      <p:pic>
        <p:nvPicPr>
          <p:cNvPr id="301" name="Google Shape;301;p60"/>
          <p:cNvPicPr preferRelativeResize="0"/>
          <p:nvPr/>
        </p:nvPicPr>
        <p:blipFill rotWithShape="1">
          <a:blip r:embed="rId2">
            <a:alphaModFix/>
          </a:blip>
          <a:srcRect l="-1559" t="25250" r="36028" b="21582"/>
          <a:stretch/>
        </p:blipFill>
        <p:spPr>
          <a:xfrm flipH="1">
            <a:off x="8099463" y="1"/>
            <a:ext cx="3838772" cy="2611148"/>
          </a:xfrm>
          <a:prstGeom prst="rect">
            <a:avLst/>
          </a:prstGeom>
          <a:noFill/>
          <a:ln>
            <a:noFill/>
          </a:ln>
        </p:spPr>
      </p:pic>
      <p:sp>
        <p:nvSpPr>
          <p:cNvPr id="302" name="Google Shape;302;p60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88758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lexible models slide">
  <p:cSld name="Flexible models slide">
    <p:bg>
      <p:bgPr>
        <a:solidFill>
          <a:schemeClr val="lt1"/>
        </a:solidFill>
        <a:effectLst/>
      </p:bgPr>
    </p:bg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4" name="Google Shape;304;p61"/>
          <p:cNvPicPr preferRelativeResize="0"/>
          <p:nvPr/>
        </p:nvPicPr>
        <p:blipFill rotWithShape="1">
          <a:blip r:embed="rId2">
            <a:alphaModFix/>
          </a:blip>
          <a:srcRect t="10229" r="43263" b="-9071"/>
          <a:stretch/>
        </p:blipFill>
        <p:spPr>
          <a:xfrm rot="10800000">
            <a:off x="1" y="2449011"/>
            <a:ext cx="2938249" cy="4424392"/>
          </a:xfrm>
          <a:prstGeom prst="rect">
            <a:avLst/>
          </a:prstGeom>
          <a:noFill/>
          <a:ln>
            <a:noFill/>
          </a:ln>
        </p:spPr>
      </p:pic>
      <p:sp>
        <p:nvSpPr>
          <p:cNvPr id="305" name="Google Shape;305;p61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15376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kstreams slide">
  <p:cSld name="workstreams slide"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62"/>
          <p:cNvSpPr/>
          <p:nvPr/>
        </p:nvSpPr>
        <p:spPr>
          <a:xfrm>
            <a:off x="3429392" y="-364"/>
            <a:ext cx="8792392" cy="6884621"/>
          </a:xfrm>
          <a:custGeom>
            <a:avLst/>
            <a:gdLst/>
            <a:ahLst/>
            <a:cxnLst/>
            <a:rect l="l" t="t" r="r" b="b"/>
            <a:pathLst>
              <a:path w="592674" h="454130" extrusionOk="0">
                <a:moveTo>
                  <a:pt x="144555" y="0"/>
                </a:moveTo>
                <a:lnTo>
                  <a:pt x="0" y="454130"/>
                </a:lnTo>
                <a:lnTo>
                  <a:pt x="590932" y="454055"/>
                </a:lnTo>
                <a:lnTo>
                  <a:pt x="592674" y="24"/>
                </a:lnTo>
                <a:close/>
              </a:path>
            </a:pathLst>
          </a:custGeom>
          <a:gradFill>
            <a:gsLst>
              <a:gs pos="0">
                <a:srgbClr val="00C8B0"/>
              </a:gs>
              <a:gs pos="100000">
                <a:srgbClr val="5F4695"/>
              </a:gs>
            </a:gsLst>
            <a:lin ang="2698631" scaled="0"/>
          </a:gradFill>
          <a:ln>
            <a:noFill/>
          </a:ln>
        </p:spPr>
      </p:sp>
      <p:pic>
        <p:nvPicPr>
          <p:cNvPr id="308" name="Google Shape;308;p62"/>
          <p:cNvPicPr preferRelativeResize="0"/>
          <p:nvPr/>
        </p:nvPicPr>
        <p:blipFill rotWithShape="1">
          <a:blip r:embed="rId2">
            <a:alphaModFix amt="20000"/>
          </a:blip>
          <a:srcRect/>
          <a:stretch/>
        </p:blipFill>
        <p:spPr>
          <a:xfrm rot="10800000" flipH="1">
            <a:off x="2343616" y="5180053"/>
            <a:ext cx="5605555" cy="2401089"/>
          </a:xfrm>
          <a:prstGeom prst="rect">
            <a:avLst/>
          </a:prstGeom>
          <a:noFill/>
          <a:ln>
            <a:noFill/>
          </a:ln>
        </p:spPr>
      </p:pic>
      <p:sp>
        <p:nvSpPr>
          <p:cNvPr id="309" name="Google Shape;309;p62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16855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kstreams slide 1">
  <p:cSld name="workstreams slide 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63"/>
          <p:cNvSpPr/>
          <p:nvPr/>
        </p:nvSpPr>
        <p:spPr>
          <a:xfrm>
            <a:off x="3429392" y="-364"/>
            <a:ext cx="8792392" cy="6884621"/>
          </a:xfrm>
          <a:custGeom>
            <a:avLst/>
            <a:gdLst/>
            <a:ahLst/>
            <a:cxnLst/>
            <a:rect l="l" t="t" r="r" b="b"/>
            <a:pathLst>
              <a:path w="592674" h="454130" extrusionOk="0">
                <a:moveTo>
                  <a:pt x="144555" y="0"/>
                </a:moveTo>
                <a:lnTo>
                  <a:pt x="0" y="454130"/>
                </a:lnTo>
                <a:lnTo>
                  <a:pt x="590932" y="454055"/>
                </a:lnTo>
                <a:lnTo>
                  <a:pt x="592674" y="24"/>
                </a:lnTo>
                <a:close/>
              </a:path>
            </a:pathLst>
          </a:custGeom>
          <a:gradFill>
            <a:gsLst>
              <a:gs pos="0">
                <a:srgbClr val="00C8B0"/>
              </a:gs>
              <a:gs pos="100000">
                <a:srgbClr val="5F4695"/>
              </a:gs>
            </a:gsLst>
            <a:lin ang="2698631" scaled="0"/>
          </a:gradFill>
          <a:ln>
            <a:noFill/>
          </a:ln>
        </p:spPr>
      </p:sp>
      <p:sp>
        <p:nvSpPr>
          <p:cNvPr id="312" name="Google Shape;312;p63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29808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ditable x3 panels white">
  <p:cSld name="editable x3 panels white"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4" name="Google Shape;314;p64"/>
          <p:cNvPicPr preferRelativeResize="0"/>
          <p:nvPr/>
        </p:nvPicPr>
        <p:blipFill rotWithShape="1">
          <a:blip r:embed="rId2">
            <a:alphaModFix/>
          </a:blip>
          <a:srcRect l="-3390" t="21486" r="53088" b="-3621"/>
          <a:stretch/>
        </p:blipFill>
        <p:spPr>
          <a:xfrm rot="5400000">
            <a:off x="8341419" y="2999717"/>
            <a:ext cx="3250460" cy="4450703"/>
          </a:xfrm>
          <a:prstGeom prst="rect">
            <a:avLst/>
          </a:prstGeom>
          <a:noFill/>
          <a:ln>
            <a:noFill/>
          </a:ln>
        </p:spPr>
      </p:pic>
      <p:pic>
        <p:nvPicPr>
          <p:cNvPr id="315" name="Google Shape;315;p64"/>
          <p:cNvPicPr preferRelativeResize="0"/>
          <p:nvPr/>
        </p:nvPicPr>
        <p:blipFill rotWithShape="1">
          <a:blip r:embed="rId2">
            <a:alphaModFix/>
          </a:blip>
          <a:srcRect l="-1559" t="25250" r="36028" b="21582"/>
          <a:stretch/>
        </p:blipFill>
        <p:spPr>
          <a:xfrm flipH="1">
            <a:off x="8368375" y="1"/>
            <a:ext cx="3838772" cy="2611148"/>
          </a:xfrm>
          <a:prstGeom prst="rect">
            <a:avLst/>
          </a:prstGeom>
          <a:noFill/>
          <a:ln>
            <a:noFill/>
          </a:ln>
        </p:spPr>
      </p:pic>
      <p:sp>
        <p:nvSpPr>
          <p:cNvPr id="316" name="Google Shape;316;p64"/>
          <p:cNvSpPr/>
          <p:nvPr/>
        </p:nvSpPr>
        <p:spPr>
          <a:xfrm>
            <a:off x="624653" y="1675471"/>
            <a:ext cx="3488929" cy="3507059"/>
          </a:xfrm>
          <a:prstGeom prst="roundRect">
            <a:avLst>
              <a:gd name="adj" fmla="val 3862"/>
            </a:avLst>
          </a:prstGeom>
          <a:solidFill>
            <a:schemeClr val="lt1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7" name="Google Shape;317;p64"/>
          <p:cNvSpPr/>
          <p:nvPr/>
        </p:nvSpPr>
        <p:spPr>
          <a:xfrm>
            <a:off x="4362058" y="1675471"/>
            <a:ext cx="3488929" cy="3507059"/>
          </a:xfrm>
          <a:prstGeom prst="roundRect">
            <a:avLst>
              <a:gd name="adj" fmla="val 3862"/>
            </a:avLst>
          </a:prstGeom>
          <a:solidFill>
            <a:schemeClr val="lt1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8" name="Google Shape;318;p64"/>
          <p:cNvSpPr/>
          <p:nvPr/>
        </p:nvSpPr>
        <p:spPr>
          <a:xfrm>
            <a:off x="8099464" y="1675471"/>
            <a:ext cx="3488929" cy="3507059"/>
          </a:xfrm>
          <a:prstGeom prst="roundRect">
            <a:avLst>
              <a:gd name="adj" fmla="val 3862"/>
            </a:avLst>
          </a:prstGeom>
          <a:solidFill>
            <a:schemeClr val="lt1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9" name="Google Shape;319;p64"/>
          <p:cNvSpPr txBox="1">
            <a:spLocks noGrp="1"/>
          </p:cNvSpPr>
          <p:nvPr>
            <p:ph type="title"/>
          </p:nvPr>
        </p:nvSpPr>
        <p:spPr>
          <a:xfrm>
            <a:off x="914911" y="1955976"/>
            <a:ext cx="2961143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20" name="Google Shape;320;p64"/>
          <p:cNvSpPr txBox="1">
            <a:spLocks noGrp="1"/>
          </p:cNvSpPr>
          <p:nvPr>
            <p:ph type="body" idx="1"/>
          </p:nvPr>
        </p:nvSpPr>
        <p:spPr>
          <a:xfrm>
            <a:off x="914911" y="2972639"/>
            <a:ext cx="2961143" cy="1728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1pPr>
            <a:lvl2pPr marL="1219170" lvl="1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2pPr>
            <a:lvl3pPr marL="1828754" lvl="2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3pPr>
            <a:lvl4pPr marL="2438339" lvl="3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4pPr>
            <a:lvl5pPr marL="3047924" lvl="4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5pPr>
            <a:lvl6pPr marL="3657509" lvl="5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6pPr>
            <a:lvl7pPr marL="4267093" lvl="6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7pPr>
            <a:lvl8pPr marL="4876678" lvl="7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8pPr>
            <a:lvl9pPr marL="5486263" lvl="8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  <p:sp>
        <p:nvSpPr>
          <p:cNvPr id="321" name="Google Shape;321;p64"/>
          <p:cNvSpPr txBox="1">
            <a:spLocks noGrp="1"/>
          </p:cNvSpPr>
          <p:nvPr>
            <p:ph type="title" idx="2"/>
          </p:nvPr>
        </p:nvSpPr>
        <p:spPr>
          <a:xfrm>
            <a:off x="4625951" y="1955976"/>
            <a:ext cx="2961143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22" name="Google Shape;322;p64"/>
          <p:cNvSpPr txBox="1">
            <a:spLocks noGrp="1"/>
          </p:cNvSpPr>
          <p:nvPr>
            <p:ph type="body" idx="3"/>
          </p:nvPr>
        </p:nvSpPr>
        <p:spPr>
          <a:xfrm>
            <a:off x="4625951" y="2972639"/>
            <a:ext cx="2961143" cy="1728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1pPr>
            <a:lvl2pPr marL="1219170" lvl="1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2pPr>
            <a:lvl3pPr marL="1828754" lvl="2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3pPr>
            <a:lvl4pPr marL="2438339" lvl="3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4pPr>
            <a:lvl5pPr marL="3047924" lvl="4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5pPr>
            <a:lvl6pPr marL="3657509" lvl="5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6pPr>
            <a:lvl7pPr marL="4267093" lvl="6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7pPr>
            <a:lvl8pPr marL="4876678" lvl="7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8pPr>
            <a:lvl9pPr marL="5486263" lvl="8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  <p:sp>
        <p:nvSpPr>
          <p:cNvPr id="323" name="Google Shape;323;p64"/>
          <p:cNvSpPr txBox="1">
            <a:spLocks noGrp="1"/>
          </p:cNvSpPr>
          <p:nvPr>
            <p:ph type="title" idx="4"/>
          </p:nvPr>
        </p:nvSpPr>
        <p:spPr>
          <a:xfrm>
            <a:off x="8363357" y="1955976"/>
            <a:ext cx="2961143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64"/>
          <p:cNvSpPr txBox="1">
            <a:spLocks noGrp="1"/>
          </p:cNvSpPr>
          <p:nvPr>
            <p:ph type="body" idx="5"/>
          </p:nvPr>
        </p:nvSpPr>
        <p:spPr>
          <a:xfrm>
            <a:off x="8363357" y="2972639"/>
            <a:ext cx="2961143" cy="1728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1pPr>
            <a:lvl2pPr marL="1219170" lvl="1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2pPr>
            <a:lvl3pPr marL="1828754" lvl="2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3pPr>
            <a:lvl4pPr marL="2438339" lvl="3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4pPr>
            <a:lvl5pPr marL="3047924" lvl="4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5pPr>
            <a:lvl6pPr marL="3657509" lvl="5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6pPr>
            <a:lvl7pPr marL="4267093" lvl="6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7pPr>
            <a:lvl8pPr marL="4876678" lvl="7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8pPr>
            <a:lvl9pPr marL="5486263" lvl="8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  <p:sp>
        <p:nvSpPr>
          <p:cNvPr id="325" name="Google Shape;325;p64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68729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ject plan slide">
  <p:cSld name="Project plan slide"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65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67150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able blue slide">
  <p:cSld name="Enable blue slide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9" name="Google Shape;329;p66"/>
          <p:cNvPicPr preferRelativeResize="0"/>
          <p:nvPr/>
        </p:nvPicPr>
        <p:blipFill rotWithShape="1">
          <a:blip r:embed="rId2">
            <a:alphaModFix/>
          </a:blip>
          <a:srcRect l="7185" r="-2251" b="-399"/>
          <a:stretch/>
        </p:blipFill>
        <p:spPr>
          <a:xfrm rot="5400000">
            <a:off x="1460934" y="409461"/>
            <a:ext cx="6982085" cy="6182873"/>
          </a:xfrm>
          <a:prstGeom prst="rect">
            <a:avLst/>
          </a:prstGeom>
          <a:noFill/>
          <a:ln>
            <a:noFill/>
          </a:ln>
        </p:spPr>
      </p:pic>
      <p:pic>
        <p:nvPicPr>
          <p:cNvPr id="330" name="Google Shape;330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4045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proach slide">
  <p:cSld name="Approach slid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49703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tandard 1">
  <p:cSld name="Standard 1">
    <p:bg>
      <p:bgPr>
        <a:solidFill>
          <a:schemeClr val="lt1"/>
        </a:solidFill>
        <a:effectLst/>
      </p:bgPr>
    </p:bg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68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6" name="Google Shape;336;p68"/>
          <p:cNvSpPr/>
          <p:nvPr/>
        </p:nvSpPr>
        <p:spPr>
          <a:xfrm>
            <a:off x="9203978" y="1162138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7" name="Google Shape;337;p68"/>
          <p:cNvPicPr preferRelativeResize="0"/>
          <p:nvPr/>
        </p:nvPicPr>
        <p:blipFill rotWithShape="1">
          <a:blip r:embed="rId3">
            <a:alphaModFix/>
          </a:blip>
          <a:srcRect l="-612" t="15943" r="37417" b="57275"/>
          <a:stretch/>
        </p:blipFill>
        <p:spPr>
          <a:xfrm>
            <a:off x="7798773" y="5297155"/>
            <a:ext cx="4393228" cy="1560847"/>
          </a:xfrm>
          <a:prstGeom prst="rect">
            <a:avLst/>
          </a:prstGeom>
          <a:noFill/>
          <a:ln>
            <a:noFill/>
          </a:ln>
        </p:spPr>
      </p:pic>
      <p:sp>
        <p:nvSpPr>
          <p:cNvPr id="338" name="Google Shape;338;p68"/>
          <p:cNvSpPr txBox="1">
            <a:spLocks noGrp="1"/>
          </p:cNvSpPr>
          <p:nvPr>
            <p:ph type="title"/>
          </p:nvPr>
        </p:nvSpPr>
        <p:spPr>
          <a:xfrm>
            <a:off x="578442" y="1611571"/>
            <a:ext cx="4832869" cy="290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39" name="Google Shape;339;p68"/>
          <p:cNvSpPr txBox="1">
            <a:spLocks noGrp="1"/>
          </p:cNvSpPr>
          <p:nvPr>
            <p:ph type="body" idx="1"/>
          </p:nvPr>
        </p:nvSpPr>
        <p:spPr>
          <a:xfrm>
            <a:off x="578442" y="2120934"/>
            <a:ext cx="11010041" cy="3473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1pPr>
            <a:lvl2pPr marL="1219170" lvl="1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2pPr>
            <a:lvl3pPr marL="1828754" lvl="2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3pPr>
            <a:lvl4pPr marL="2438339" lvl="3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4pPr>
            <a:lvl5pPr marL="3047924" lvl="4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5pPr>
            <a:lvl6pPr marL="3657509" lvl="5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6pPr>
            <a:lvl7pPr marL="4267093" lvl="6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7pPr>
            <a:lvl8pPr marL="4876678" lvl="7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8pPr>
            <a:lvl9pPr marL="5486263" lvl="8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453541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ndard 2">
  <p:cSld name="standard 2"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69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2" name="Google Shape;342;p69"/>
          <p:cNvSpPr/>
          <p:nvPr/>
        </p:nvSpPr>
        <p:spPr>
          <a:xfrm>
            <a:off x="9203978" y="1162138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3" name="Google Shape;343;p69"/>
          <p:cNvPicPr preferRelativeResize="0"/>
          <p:nvPr/>
        </p:nvPicPr>
        <p:blipFill rotWithShape="1">
          <a:blip r:embed="rId3">
            <a:alphaModFix/>
          </a:blip>
          <a:srcRect l="-612" t="15943" r="37417" b="57275"/>
          <a:stretch/>
        </p:blipFill>
        <p:spPr>
          <a:xfrm>
            <a:off x="7798773" y="5297155"/>
            <a:ext cx="4393228" cy="1560847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69"/>
          <p:cNvSpPr txBox="1">
            <a:spLocks noGrp="1"/>
          </p:cNvSpPr>
          <p:nvPr>
            <p:ph type="title"/>
          </p:nvPr>
        </p:nvSpPr>
        <p:spPr>
          <a:xfrm>
            <a:off x="578442" y="1611571"/>
            <a:ext cx="5279151" cy="290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p69"/>
          <p:cNvSpPr txBox="1">
            <a:spLocks noGrp="1"/>
          </p:cNvSpPr>
          <p:nvPr>
            <p:ph type="body" idx="1"/>
          </p:nvPr>
        </p:nvSpPr>
        <p:spPr>
          <a:xfrm>
            <a:off x="578442" y="2120934"/>
            <a:ext cx="5279151" cy="3473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1pPr>
            <a:lvl2pPr marL="1219170" lvl="1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2pPr>
            <a:lvl3pPr marL="1828754" lvl="2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3pPr>
            <a:lvl4pPr marL="2438339" lvl="3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4pPr>
            <a:lvl5pPr marL="3047924" lvl="4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5pPr>
            <a:lvl6pPr marL="3657509" lvl="5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6pPr>
            <a:lvl7pPr marL="4267093" lvl="6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7pPr>
            <a:lvl8pPr marL="4876678" lvl="7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8pPr>
            <a:lvl9pPr marL="5486263" lvl="8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  <p:sp>
        <p:nvSpPr>
          <p:cNvPr id="346" name="Google Shape;346;p69"/>
          <p:cNvSpPr txBox="1">
            <a:spLocks noGrp="1"/>
          </p:cNvSpPr>
          <p:nvPr>
            <p:ph type="title" idx="2"/>
          </p:nvPr>
        </p:nvSpPr>
        <p:spPr>
          <a:xfrm>
            <a:off x="6309242" y="1611571"/>
            <a:ext cx="5279151" cy="290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47" name="Google Shape;347;p69"/>
          <p:cNvSpPr txBox="1">
            <a:spLocks noGrp="1"/>
          </p:cNvSpPr>
          <p:nvPr>
            <p:ph type="body" idx="3"/>
          </p:nvPr>
        </p:nvSpPr>
        <p:spPr>
          <a:xfrm>
            <a:off x="6309242" y="2120934"/>
            <a:ext cx="5279151" cy="3473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1pPr>
            <a:lvl2pPr marL="1219170" lvl="1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2pPr>
            <a:lvl3pPr marL="1828754" lvl="2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3pPr>
            <a:lvl4pPr marL="2438339" lvl="3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4pPr>
            <a:lvl5pPr marL="3047924" lvl="4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5pPr>
            <a:lvl6pPr marL="3657509" lvl="5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6pPr>
            <a:lvl7pPr marL="4267093" lvl="6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7pPr>
            <a:lvl8pPr marL="4876678" lvl="7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8pPr>
            <a:lvl9pPr marL="5486263" lvl="8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74718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>
  <p:cSld name="Thank you slide">
    <p:bg>
      <p:bgPr>
        <a:solidFill>
          <a:srgbClr val="212121"/>
        </a:solidFill>
        <a:effectLst/>
      </p:bgPr>
    </p:bg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71"/>
          <p:cNvSpPr txBox="1"/>
          <p:nvPr/>
        </p:nvSpPr>
        <p:spPr>
          <a:xfrm>
            <a:off x="578441" y="5943684"/>
            <a:ext cx="3383409" cy="354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5433" tIns="55433" rIns="55433" bIns="55433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82"/>
              <a:buFont typeface="Arial"/>
              <a:buNone/>
            </a:pPr>
            <a:r>
              <a:rPr lang="en-US" sz="1576" b="0" i="0" u="none" strike="noStrike" cap="none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mambu.com</a:t>
            </a:r>
            <a:endParaRPr sz="1576" b="0" i="0" u="none" strike="noStrike" cap="none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60" name="Google Shape;360;p71"/>
          <p:cNvSpPr/>
          <p:nvPr/>
        </p:nvSpPr>
        <p:spPr>
          <a:xfrm>
            <a:off x="624653" y="5806290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1" name="Google Shape;36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8257366" y="2923364"/>
            <a:ext cx="4524509" cy="33447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41194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ld map slide">
  <p:cSld name="world map slide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3" name="Google Shape;363;p72"/>
          <p:cNvPicPr preferRelativeResize="0"/>
          <p:nvPr/>
        </p:nvPicPr>
        <p:blipFill rotWithShape="1">
          <a:blip r:embed="rId2">
            <a:alphaModFix/>
          </a:blip>
          <a:srcRect t="209" b="207"/>
          <a:stretch/>
        </p:blipFill>
        <p:spPr>
          <a:xfrm>
            <a:off x="4192063" y="724573"/>
            <a:ext cx="7308447" cy="5766403"/>
          </a:xfrm>
          <a:prstGeom prst="rect">
            <a:avLst/>
          </a:prstGeom>
          <a:noFill/>
          <a:ln>
            <a:noFill/>
          </a:ln>
        </p:spPr>
      </p:pic>
      <p:pic>
        <p:nvPicPr>
          <p:cNvPr id="364" name="Google Shape;364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365" name="Google Shape;365;p72"/>
          <p:cNvSpPr txBox="1">
            <a:spLocks noGrp="1"/>
          </p:cNvSpPr>
          <p:nvPr>
            <p:ph type="body" idx="1"/>
          </p:nvPr>
        </p:nvSpPr>
        <p:spPr>
          <a:xfrm>
            <a:off x="819381" y="2538713"/>
            <a:ext cx="2704616" cy="3473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66" name="Google Shape;366;p72"/>
          <p:cNvSpPr txBox="1">
            <a:spLocks noGrp="1"/>
          </p:cNvSpPr>
          <p:nvPr>
            <p:ph type="title"/>
          </p:nvPr>
        </p:nvSpPr>
        <p:spPr>
          <a:xfrm>
            <a:off x="726959" y="978398"/>
            <a:ext cx="3465096" cy="173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2pPr>
            <a:lvl3pPr lvl="2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3pPr>
            <a:lvl4pPr lvl="3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4pPr>
            <a:lvl5pPr lvl="4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5pPr>
            <a:lvl6pPr lvl="5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6pPr>
            <a:lvl7pPr lvl="6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7pPr>
            <a:lvl8pPr lvl="7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8pPr>
            <a:lvl9pPr lvl="8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9pPr>
          </a:lstStyle>
          <a:p>
            <a:endParaRPr/>
          </a:p>
        </p:txBody>
      </p:sp>
      <p:pic>
        <p:nvPicPr>
          <p:cNvPr id="367" name="Google Shape;367;p72"/>
          <p:cNvPicPr preferRelativeResize="0"/>
          <p:nvPr/>
        </p:nvPicPr>
        <p:blipFill rotWithShape="1">
          <a:blip r:embed="rId4">
            <a:alphaModFix/>
          </a:blip>
          <a:srcRect l="7185" r="-2251" b="-399"/>
          <a:stretch/>
        </p:blipFill>
        <p:spPr>
          <a:xfrm rot="5400000">
            <a:off x="6655046" y="2722440"/>
            <a:ext cx="6982085" cy="61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174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ld map 2">
  <p:cSld name="world map 2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9" name="Google Shape;369;p73"/>
          <p:cNvPicPr preferRelativeResize="0"/>
          <p:nvPr/>
        </p:nvPicPr>
        <p:blipFill rotWithShape="1">
          <a:blip r:embed="rId2">
            <a:alphaModFix/>
          </a:blip>
          <a:srcRect t="14979" r="34335" b="40251"/>
          <a:stretch/>
        </p:blipFill>
        <p:spPr>
          <a:xfrm>
            <a:off x="3404969" y="978399"/>
            <a:ext cx="5759940" cy="4789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370" name="Google Shape;370;p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371" name="Google Shape;371;p73"/>
          <p:cNvSpPr txBox="1">
            <a:spLocks noGrp="1"/>
          </p:cNvSpPr>
          <p:nvPr>
            <p:ph type="body" idx="1"/>
          </p:nvPr>
        </p:nvSpPr>
        <p:spPr>
          <a:xfrm>
            <a:off x="819381" y="2538713"/>
            <a:ext cx="2704616" cy="3473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72" name="Google Shape;372;p73"/>
          <p:cNvSpPr txBox="1">
            <a:spLocks noGrp="1"/>
          </p:cNvSpPr>
          <p:nvPr>
            <p:ph type="title"/>
          </p:nvPr>
        </p:nvSpPr>
        <p:spPr>
          <a:xfrm>
            <a:off x="726959" y="978398"/>
            <a:ext cx="3465096" cy="173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2pPr>
            <a:lvl3pPr lvl="2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3pPr>
            <a:lvl4pPr lvl="3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4pPr>
            <a:lvl5pPr lvl="4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5pPr>
            <a:lvl6pPr lvl="5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6pPr>
            <a:lvl7pPr lvl="6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7pPr>
            <a:lvl8pPr lvl="7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8pPr>
            <a:lvl9pPr lvl="8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9pPr>
          </a:lstStyle>
          <a:p>
            <a:endParaRPr/>
          </a:p>
        </p:txBody>
      </p:sp>
      <p:pic>
        <p:nvPicPr>
          <p:cNvPr id="373" name="Google Shape;373;p73"/>
          <p:cNvPicPr preferRelativeResize="0"/>
          <p:nvPr/>
        </p:nvPicPr>
        <p:blipFill rotWithShape="1">
          <a:blip r:embed="rId4">
            <a:alphaModFix/>
          </a:blip>
          <a:srcRect l="7185" r="-2251" b="-399"/>
          <a:stretch/>
        </p:blipFill>
        <p:spPr>
          <a:xfrm rot="5400000">
            <a:off x="6888860" y="2705749"/>
            <a:ext cx="6982085" cy="61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5604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ld map 3">
  <p:cSld name="world map 3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5" name="Google Shape;375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376" name="Google Shape;376;p74"/>
          <p:cNvSpPr txBox="1">
            <a:spLocks noGrp="1"/>
          </p:cNvSpPr>
          <p:nvPr>
            <p:ph type="body" idx="1"/>
          </p:nvPr>
        </p:nvSpPr>
        <p:spPr>
          <a:xfrm>
            <a:off x="819381" y="2538713"/>
            <a:ext cx="2704616" cy="3473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77" name="Google Shape;377;p74"/>
          <p:cNvSpPr txBox="1">
            <a:spLocks noGrp="1"/>
          </p:cNvSpPr>
          <p:nvPr>
            <p:ph type="title"/>
          </p:nvPr>
        </p:nvSpPr>
        <p:spPr>
          <a:xfrm>
            <a:off x="726959" y="978398"/>
            <a:ext cx="3465096" cy="173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2pPr>
            <a:lvl3pPr lvl="2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3pPr>
            <a:lvl4pPr lvl="3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4pPr>
            <a:lvl5pPr lvl="4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5pPr>
            <a:lvl6pPr lvl="5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6pPr>
            <a:lvl7pPr lvl="6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7pPr>
            <a:lvl8pPr lvl="7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8pPr>
            <a:lvl9pPr lvl="8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9pPr>
          </a:lstStyle>
          <a:p>
            <a:endParaRPr/>
          </a:p>
        </p:txBody>
      </p:sp>
      <p:pic>
        <p:nvPicPr>
          <p:cNvPr id="378" name="Google Shape;378;p74"/>
          <p:cNvPicPr preferRelativeResize="0"/>
          <p:nvPr/>
        </p:nvPicPr>
        <p:blipFill rotWithShape="1">
          <a:blip r:embed="rId3">
            <a:alphaModFix/>
          </a:blip>
          <a:srcRect l="7185" r="-2251" b="-399"/>
          <a:stretch/>
        </p:blipFill>
        <p:spPr>
          <a:xfrm rot="5400000">
            <a:off x="6888860" y="2705749"/>
            <a:ext cx="6982085" cy="6182873"/>
          </a:xfrm>
          <a:prstGeom prst="rect">
            <a:avLst/>
          </a:prstGeom>
          <a:noFill/>
          <a:ln>
            <a:noFill/>
          </a:ln>
        </p:spPr>
      </p:pic>
      <p:pic>
        <p:nvPicPr>
          <p:cNvPr id="379" name="Google Shape;379;p74"/>
          <p:cNvPicPr preferRelativeResize="0"/>
          <p:nvPr/>
        </p:nvPicPr>
        <p:blipFill rotWithShape="1">
          <a:blip r:embed="rId4">
            <a:alphaModFix/>
          </a:blip>
          <a:srcRect l="11162" t="22755" r="11161" b="18395"/>
          <a:stretch/>
        </p:blipFill>
        <p:spPr>
          <a:xfrm>
            <a:off x="3762330" y="638633"/>
            <a:ext cx="6039676" cy="55807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5807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ld map 4">
  <p:cSld name="World map 4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1" name="Google Shape;381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p75"/>
          <p:cNvSpPr txBox="1">
            <a:spLocks noGrp="1"/>
          </p:cNvSpPr>
          <p:nvPr>
            <p:ph type="body" idx="1"/>
          </p:nvPr>
        </p:nvSpPr>
        <p:spPr>
          <a:xfrm>
            <a:off x="819381" y="2538713"/>
            <a:ext cx="2704616" cy="3473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83" name="Google Shape;383;p75"/>
          <p:cNvSpPr txBox="1">
            <a:spLocks noGrp="1"/>
          </p:cNvSpPr>
          <p:nvPr>
            <p:ph type="title"/>
          </p:nvPr>
        </p:nvSpPr>
        <p:spPr>
          <a:xfrm>
            <a:off x="726959" y="978398"/>
            <a:ext cx="3465096" cy="173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2pPr>
            <a:lvl3pPr lvl="2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3pPr>
            <a:lvl4pPr lvl="3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4pPr>
            <a:lvl5pPr lvl="4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5pPr>
            <a:lvl6pPr lvl="5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6pPr>
            <a:lvl7pPr lvl="6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7pPr>
            <a:lvl8pPr lvl="7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8pPr>
            <a:lvl9pPr lvl="8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9pPr>
          </a:lstStyle>
          <a:p>
            <a:endParaRPr/>
          </a:p>
        </p:txBody>
      </p:sp>
      <p:pic>
        <p:nvPicPr>
          <p:cNvPr id="384" name="Google Shape;384;p75"/>
          <p:cNvPicPr preferRelativeResize="0"/>
          <p:nvPr/>
        </p:nvPicPr>
        <p:blipFill rotWithShape="1">
          <a:blip r:embed="rId3">
            <a:alphaModFix/>
          </a:blip>
          <a:srcRect l="7185" r="-2251" b="-399"/>
          <a:stretch/>
        </p:blipFill>
        <p:spPr>
          <a:xfrm rot="5400000">
            <a:off x="6888860" y="2705749"/>
            <a:ext cx="6982085" cy="6182873"/>
          </a:xfrm>
          <a:prstGeom prst="rect">
            <a:avLst/>
          </a:prstGeom>
          <a:noFill/>
          <a:ln>
            <a:noFill/>
          </a:ln>
        </p:spPr>
      </p:pic>
      <p:pic>
        <p:nvPicPr>
          <p:cNvPr id="385" name="Google Shape;385;p75"/>
          <p:cNvPicPr preferRelativeResize="0"/>
          <p:nvPr/>
        </p:nvPicPr>
        <p:blipFill rotWithShape="1">
          <a:blip r:embed="rId4">
            <a:alphaModFix/>
          </a:blip>
          <a:srcRect t="17605" b="12076"/>
          <a:stretch/>
        </p:blipFill>
        <p:spPr>
          <a:xfrm>
            <a:off x="2788897" y="669921"/>
            <a:ext cx="6580579" cy="55341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4933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_HEADER_3">
  <p:cSld name="SECTION_HEADER_3"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76"/>
          <p:cNvSpPr txBox="1">
            <a:spLocks noGrp="1"/>
          </p:cNvSpPr>
          <p:nvPr>
            <p:ph type="title"/>
          </p:nvPr>
        </p:nvSpPr>
        <p:spPr>
          <a:xfrm>
            <a:off x="415600" y="1007939"/>
            <a:ext cx="11360808" cy="1021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9pPr>
          </a:lstStyle>
          <a:p>
            <a:endParaRPr/>
          </a:p>
        </p:txBody>
      </p:sp>
      <p:sp>
        <p:nvSpPr>
          <p:cNvPr id="388" name="Google Shape;388;p76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9" name="Google Shape;389;p76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92568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_HEADER_1_3">
  <p:cSld name="SECTION_HEADER_1_3">
    <p:spTree>
      <p:nvGrpSpPr>
        <p:cNvPr id="1" name="Shape 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" name="Google Shape;391;p77"/>
          <p:cNvSpPr txBox="1">
            <a:spLocks noGrp="1"/>
          </p:cNvSpPr>
          <p:nvPr>
            <p:ph type="title"/>
          </p:nvPr>
        </p:nvSpPr>
        <p:spPr>
          <a:xfrm>
            <a:off x="415600" y="1007939"/>
            <a:ext cx="11360808" cy="1021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9pPr>
          </a:lstStyle>
          <a:p>
            <a:endParaRPr/>
          </a:p>
        </p:txBody>
      </p:sp>
      <p:sp>
        <p:nvSpPr>
          <p:cNvPr id="392" name="Google Shape;392;p77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3" name="Google Shape;393;p77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88715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entered Layout">
  <p:cSld name="Centered Layout"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p78"/>
          <p:cNvSpPr txBox="1">
            <a:spLocks noGrp="1"/>
          </p:cNvSpPr>
          <p:nvPr>
            <p:ph type="title"/>
          </p:nvPr>
        </p:nvSpPr>
        <p:spPr>
          <a:xfrm>
            <a:off x="627304" y="1031079"/>
            <a:ext cx="10955280" cy="6247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i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96" name="Google Shape;396;p78"/>
          <p:cNvSpPr txBox="1">
            <a:spLocks noGrp="1"/>
          </p:cNvSpPr>
          <p:nvPr>
            <p:ph type="body" idx="1"/>
          </p:nvPr>
        </p:nvSpPr>
        <p:spPr>
          <a:xfrm>
            <a:off x="609598" y="2418767"/>
            <a:ext cx="10915255" cy="36847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6pPr>
            <a:lvl7pPr marL="4267093" lvl="6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7pPr>
            <a:lvl8pPr marL="4876678" lvl="7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8pPr>
            <a:lvl9pPr marL="5486263" lvl="8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97" name="Google Shape;397;p78"/>
          <p:cNvSpPr txBox="1">
            <a:spLocks noGrp="1"/>
          </p:cNvSpPr>
          <p:nvPr>
            <p:ph type="sldNum" idx="12"/>
          </p:nvPr>
        </p:nvSpPr>
        <p:spPr>
          <a:xfrm>
            <a:off x="8778240" y="6377941"/>
            <a:ext cx="2803952" cy="34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5668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exible and agile dark" type="titleOnly">
  <p:cSld name="Flexible and agile dark">
    <p:bg>
      <p:bgPr>
        <a:solidFill>
          <a:srgbClr val="212121"/>
        </a:solidFill>
        <a:effectLst/>
      </p:bgPr>
    </p:bg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20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4" name="Google Shape;44;p20"/>
          <p:cNvSpPr txBox="1">
            <a:spLocks noGrp="1"/>
          </p:cNvSpPr>
          <p:nvPr>
            <p:ph type="title"/>
          </p:nvPr>
        </p:nvSpPr>
        <p:spPr>
          <a:xfrm>
            <a:off x="819215" y="1303761"/>
            <a:ext cx="5900816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6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ubTitle" idx="1"/>
          </p:nvPr>
        </p:nvSpPr>
        <p:spPr>
          <a:xfrm>
            <a:off x="819213" y="299700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46" name="Google Shape;46;p20"/>
          <p:cNvSpPr txBox="1">
            <a:spLocks noGrp="1"/>
          </p:cNvSpPr>
          <p:nvPr>
            <p:ph type="body" idx="2"/>
          </p:nvPr>
        </p:nvSpPr>
        <p:spPr>
          <a:xfrm>
            <a:off x="819213" y="3392738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47" name="Google Shape;47;p20"/>
          <p:cNvSpPr txBox="1">
            <a:spLocks noGrp="1"/>
          </p:cNvSpPr>
          <p:nvPr>
            <p:ph type="subTitle" idx="3"/>
          </p:nvPr>
        </p:nvSpPr>
        <p:spPr>
          <a:xfrm>
            <a:off x="819213" y="475289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48" name="Google Shape;48;p20"/>
          <p:cNvSpPr txBox="1">
            <a:spLocks noGrp="1"/>
          </p:cNvSpPr>
          <p:nvPr>
            <p:ph type="body" idx="4"/>
          </p:nvPr>
        </p:nvSpPr>
        <p:spPr>
          <a:xfrm>
            <a:off x="819213" y="5148624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49" name="Google Shape;49;p20"/>
          <p:cNvSpPr txBox="1">
            <a:spLocks noGrp="1"/>
          </p:cNvSpPr>
          <p:nvPr>
            <p:ph type="subTitle" idx="5"/>
          </p:nvPr>
        </p:nvSpPr>
        <p:spPr>
          <a:xfrm>
            <a:off x="3816012" y="299700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50" name="Google Shape;50;p20"/>
          <p:cNvSpPr txBox="1">
            <a:spLocks noGrp="1"/>
          </p:cNvSpPr>
          <p:nvPr>
            <p:ph type="body" idx="6"/>
          </p:nvPr>
        </p:nvSpPr>
        <p:spPr>
          <a:xfrm>
            <a:off x="3816012" y="3392738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51" name="Google Shape;51;p20"/>
          <p:cNvSpPr txBox="1">
            <a:spLocks noGrp="1"/>
          </p:cNvSpPr>
          <p:nvPr>
            <p:ph type="subTitle" idx="7"/>
          </p:nvPr>
        </p:nvSpPr>
        <p:spPr>
          <a:xfrm>
            <a:off x="3816012" y="475289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52" name="Google Shape;52;p20"/>
          <p:cNvSpPr txBox="1">
            <a:spLocks noGrp="1"/>
          </p:cNvSpPr>
          <p:nvPr>
            <p:ph type="body" idx="8"/>
          </p:nvPr>
        </p:nvSpPr>
        <p:spPr>
          <a:xfrm>
            <a:off x="3816012" y="5148624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987109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Google Shape;399;p79"/>
          <p:cNvSpPr/>
          <p:nvPr/>
        </p:nvSpPr>
        <p:spPr>
          <a:xfrm>
            <a:off x="1" y="259"/>
            <a:ext cx="12192060" cy="6857484"/>
          </a:xfrm>
          <a:prstGeom prst="rect">
            <a:avLst/>
          </a:prstGeom>
          <a:gradFill>
            <a:gsLst>
              <a:gs pos="0">
                <a:srgbClr val="B4D3E4"/>
              </a:gs>
              <a:gs pos="100000">
                <a:srgbClr val="EBEFF0"/>
              </a:gs>
            </a:gsLst>
            <a:lin ang="780369" scaled="0"/>
          </a:gra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0" name="Google Shape;400;p79"/>
          <p:cNvSpPr/>
          <p:nvPr/>
        </p:nvSpPr>
        <p:spPr>
          <a:xfrm>
            <a:off x="-32369" y="-27682"/>
            <a:ext cx="12224445" cy="6946625"/>
          </a:xfrm>
          <a:prstGeom prst="rect">
            <a:avLst/>
          </a:prstGeom>
          <a:solidFill>
            <a:srgbClr val="FFFFFF">
              <a:alpha val="38039"/>
            </a:srgbClr>
          </a:solidFill>
          <a:ln>
            <a:noFill/>
          </a:ln>
        </p:spPr>
        <p:txBody>
          <a:bodyPr spcFirstLastPara="1" wrap="square" lIns="55433" tIns="55433" rIns="55433" bIns="55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1" name="Google Shape;401;p79"/>
          <p:cNvSpPr txBox="1">
            <a:spLocks noGrp="1"/>
          </p:cNvSpPr>
          <p:nvPr>
            <p:ph type="title"/>
          </p:nvPr>
        </p:nvSpPr>
        <p:spPr>
          <a:xfrm>
            <a:off x="627298" y="1031080"/>
            <a:ext cx="5328455" cy="6248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2" name="Google Shape;402;p79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98150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_HEADER_4">
  <p:cSld name="SECTION_HEADER_4"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80"/>
          <p:cNvSpPr txBox="1">
            <a:spLocks noGrp="1"/>
          </p:cNvSpPr>
          <p:nvPr>
            <p:ph type="title"/>
          </p:nvPr>
        </p:nvSpPr>
        <p:spPr>
          <a:xfrm>
            <a:off x="415600" y="1007939"/>
            <a:ext cx="11360808" cy="1021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9pPr>
          </a:lstStyle>
          <a:p>
            <a:endParaRPr/>
          </a:p>
        </p:txBody>
      </p:sp>
      <p:sp>
        <p:nvSpPr>
          <p:cNvPr id="405" name="Google Shape;405;p80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6" name="Google Shape;406;p80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6880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entered Layout 1">
  <p:cSld name="Centered Layout 1">
    <p:spTree>
      <p:nvGrpSpPr>
        <p:cNvPr id="1" name="Shape 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Google Shape;408;p81"/>
          <p:cNvSpPr txBox="1">
            <a:spLocks noGrp="1"/>
          </p:cNvSpPr>
          <p:nvPr>
            <p:ph type="sldNum" idx="12"/>
          </p:nvPr>
        </p:nvSpPr>
        <p:spPr>
          <a:xfrm>
            <a:off x="8778240" y="6377941"/>
            <a:ext cx="2803952" cy="34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9" name="Google Shape;409;p81"/>
          <p:cNvSpPr txBox="1">
            <a:spLocks noGrp="1"/>
          </p:cNvSpPr>
          <p:nvPr>
            <p:ph type="sldNum" idx="2"/>
          </p:nvPr>
        </p:nvSpPr>
        <p:spPr>
          <a:xfrm>
            <a:off x="-41950" y="6754625"/>
            <a:ext cx="7935555" cy="179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775" tIns="150775" rIns="150775" bIns="15077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This document is strictly private, confidential and personal to its recipients and should not be copied, distributed or reproduced in whole or in part, nor passed to any third party. </a:t>
            </a:r>
            <a:endParaRPr lang="en-US" sz="1335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972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een gradient title slide">
  <p:cSld name="Green gradient title slide">
    <p:bg>
      <p:bgPr>
        <a:gradFill>
          <a:gsLst>
            <a:gs pos="0">
              <a:srgbClr val="3FB95B"/>
            </a:gs>
            <a:gs pos="100000">
              <a:srgbClr val="251E59"/>
            </a:gs>
          </a:gsLst>
          <a:lin ang="2698631" scaled="0"/>
        </a:gradFill>
        <a:effectLst/>
      </p:bgPr>
    </p:bg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oogle Shape;64;p32"/>
          <p:cNvPicPr preferRelativeResize="0"/>
          <p:nvPr/>
        </p:nvPicPr>
        <p:blipFill rotWithShape="1">
          <a:blip r:embed="rId2">
            <a:alphaModFix/>
          </a:blip>
          <a:srcRect t="1132" r="21623" b="8262"/>
          <a:stretch/>
        </p:blipFill>
        <p:spPr>
          <a:xfrm>
            <a:off x="5818931" y="1684764"/>
            <a:ext cx="6373069" cy="5173237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65;p32"/>
          <p:cNvSpPr txBox="1">
            <a:spLocks noGrp="1"/>
          </p:cNvSpPr>
          <p:nvPr>
            <p:ph type="title"/>
          </p:nvPr>
        </p:nvSpPr>
        <p:spPr>
          <a:xfrm>
            <a:off x="1000769" y="2116432"/>
            <a:ext cx="7919545" cy="2049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700"/>
              <a:buNone/>
              <a:defRPr sz="8308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32"/>
          <p:cNvSpPr txBox="1">
            <a:spLocks noGrp="1"/>
          </p:cNvSpPr>
          <p:nvPr>
            <p:ph type="subTitle" idx="1"/>
          </p:nvPr>
        </p:nvSpPr>
        <p:spPr>
          <a:xfrm>
            <a:off x="1052469" y="4207816"/>
            <a:ext cx="4932932" cy="798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lvl="1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grpSp>
        <p:nvGrpSpPr>
          <p:cNvPr id="67" name="Google Shape;67;p32"/>
          <p:cNvGrpSpPr/>
          <p:nvPr userDrawn="1"/>
        </p:nvGrpSpPr>
        <p:grpSpPr>
          <a:xfrm>
            <a:off x="1129561" y="1335953"/>
            <a:ext cx="1777496" cy="382856"/>
            <a:chOff x="388140" y="385909"/>
            <a:chExt cx="2335658" cy="503114"/>
          </a:xfrm>
        </p:grpSpPr>
        <p:sp>
          <p:nvSpPr>
            <p:cNvPr id="68" name="Google Shape;68;p32"/>
            <p:cNvSpPr/>
            <p:nvPr/>
          </p:nvSpPr>
          <p:spPr>
            <a:xfrm>
              <a:off x="2234208" y="482226"/>
              <a:ext cx="189230" cy="301625"/>
            </a:xfrm>
            <a:custGeom>
              <a:avLst/>
              <a:gdLst/>
              <a:ahLst/>
              <a:cxnLst/>
              <a:rect l="l" t="t" r="r" b="b"/>
              <a:pathLst>
                <a:path w="189230" h="301625" extrusionOk="0">
                  <a:moveTo>
                    <a:pt x="98740" y="0"/>
                  </a:moveTo>
                  <a:lnTo>
                    <a:pt x="22585" y="0"/>
                  </a:lnTo>
                  <a:lnTo>
                    <a:pt x="13795" y="1775"/>
                  </a:lnTo>
                  <a:lnTo>
                    <a:pt x="6616" y="6616"/>
                  </a:lnTo>
                  <a:lnTo>
                    <a:pt x="1775" y="13795"/>
                  </a:lnTo>
                  <a:lnTo>
                    <a:pt x="35" y="22410"/>
                  </a:lnTo>
                  <a:lnTo>
                    <a:pt x="0" y="298682"/>
                  </a:lnTo>
                  <a:lnTo>
                    <a:pt x="2649" y="301341"/>
                  </a:lnTo>
                  <a:lnTo>
                    <a:pt x="101284" y="301341"/>
                  </a:lnTo>
                  <a:lnTo>
                    <a:pt x="137374" y="295196"/>
                  </a:lnTo>
                  <a:lnTo>
                    <a:pt x="164959" y="277723"/>
                  </a:lnTo>
                  <a:lnTo>
                    <a:pt x="170486" y="269143"/>
                  </a:lnTo>
                  <a:lnTo>
                    <a:pt x="102206" y="269143"/>
                  </a:lnTo>
                  <a:lnTo>
                    <a:pt x="32574" y="268997"/>
                  </a:lnTo>
                  <a:lnTo>
                    <a:pt x="32574" y="161293"/>
                  </a:lnTo>
                  <a:lnTo>
                    <a:pt x="168430" y="161293"/>
                  </a:lnTo>
                  <a:lnTo>
                    <a:pt x="165583" y="157499"/>
                  </a:lnTo>
                  <a:lnTo>
                    <a:pt x="148435" y="143524"/>
                  </a:lnTo>
                  <a:lnTo>
                    <a:pt x="162000" y="130721"/>
                  </a:lnTo>
                  <a:lnTo>
                    <a:pt x="162682" y="129702"/>
                  </a:lnTo>
                  <a:lnTo>
                    <a:pt x="32616" y="129702"/>
                  </a:lnTo>
                  <a:lnTo>
                    <a:pt x="32616" y="29716"/>
                  </a:lnTo>
                  <a:lnTo>
                    <a:pt x="162581" y="29716"/>
                  </a:lnTo>
                  <a:lnTo>
                    <a:pt x="157851" y="22410"/>
                  </a:lnTo>
                  <a:lnTo>
                    <a:pt x="132085" y="5864"/>
                  </a:lnTo>
                  <a:lnTo>
                    <a:pt x="98740" y="0"/>
                  </a:lnTo>
                  <a:close/>
                </a:path>
                <a:path w="189230" h="301625" extrusionOk="0">
                  <a:moveTo>
                    <a:pt x="168430" y="161293"/>
                  </a:moveTo>
                  <a:lnTo>
                    <a:pt x="32574" y="161293"/>
                  </a:lnTo>
                  <a:lnTo>
                    <a:pt x="95065" y="161450"/>
                  </a:lnTo>
                  <a:lnTo>
                    <a:pt x="119672" y="165601"/>
                  </a:lnTo>
                  <a:lnTo>
                    <a:pt x="139557" y="176989"/>
                  </a:lnTo>
                  <a:lnTo>
                    <a:pt x="152855" y="194015"/>
                  </a:lnTo>
                  <a:lnTo>
                    <a:pt x="157702" y="215082"/>
                  </a:lnTo>
                  <a:lnTo>
                    <a:pt x="154063" y="238243"/>
                  </a:lnTo>
                  <a:lnTo>
                    <a:pt x="143375" y="255192"/>
                  </a:lnTo>
                  <a:lnTo>
                    <a:pt x="125976" y="265601"/>
                  </a:lnTo>
                  <a:lnTo>
                    <a:pt x="102206" y="269143"/>
                  </a:lnTo>
                  <a:lnTo>
                    <a:pt x="170486" y="269143"/>
                  </a:lnTo>
                  <a:lnTo>
                    <a:pt x="182581" y="250369"/>
                  </a:lnTo>
                  <a:lnTo>
                    <a:pt x="188779" y="214579"/>
                  </a:lnTo>
                  <a:lnTo>
                    <a:pt x="186090" y="193589"/>
                  </a:lnTo>
                  <a:lnTo>
                    <a:pt x="178247" y="174375"/>
                  </a:lnTo>
                  <a:lnTo>
                    <a:pt x="168430" y="161293"/>
                  </a:lnTo>
                  <a:close/>
                </a:path>
                <a:path w="189230" h="301625" extrusionOk="0">
                  <a:moveTo>
                    <a:pt x="162581" y="29716"/>
                  </a:moveTo>
                  <a:lnTo>
                    <a:pt x="99546" y="29716"/>
                  </a:lnTo>
                  <a:lnTo>
                    <a:pt x="120723" y="33008"/>
                  </a:lnTo>
                  <a:lnTo>
                    <a:pt x="136224" y="42680"/>
                  </a:lnTo>
                  <a:lnTo>
                    <a:pt x="145748" y="58425"/>
                  </a:lnTo>
                  <a:lnTo>
                    <a:pt x="148990" y="79934"/>
                  </a:lnTo>
                  <a:lnTo>
                    <a:pt x="144575" y="99487"/>
                  </a:lnTo>
                  <a:lnTo>
                    <a:pt x="132464" y="115287"/>
                  </a:lnTo>
                  <a:lnTo>
                    <a:pt x="114357" y="125852"/>
                  </a:lnTo>
                  <a:lnTo>
                    <a:pt x="91955" y="129702"/>
                  </a:lnTo>
                  <a:lnTo>
                    <a:pt x="162682" y="129702"/>
                  </a:lnTo>
                  <a:lnTo>
                    <a:pt x="172018" y="115756"/>
                  </a:lnTo>
                  <a:lnTo>
                    <a:pt x="178223" y="99113"/>
                  </a:lnTo>
                  <a:lnTo>
                    <a:pt x="180350" y="81275"/>
                  </a:lnTo>
                  <a:lnTo>
                    <a:pt x="174463" y="48070"/>
                  </a:lnTo>
                  <a:lnTo>
                    <a:pt x="162581" y="29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69;p32"/>
            <p:cNvSpPr/>
            <p:nvPr/>
          </p:nvSpPr>
          <p:spPr>
            <a:xfrm>
              <a:off x="1161674" y="482228"/>
              <a:ext cx="280034" cy="301625"/>
            </a:xfrm>
            <a:custGeom>
              <a:avLst/>
              <a:gdLst/>
              <a:ahLst/>
              <a:cxnLst/>
              <a:rect l="l" t="t" r="r" b="b"/>
              <a:pathLst>
                <a:path w="280034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0" y="300922"/>
                  </a:lnTo>
                  <a:lnTo>
                    <a:pt x="494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4" h="301625" extrusionOk="0">
                  <a:moveTo>
                    <a:pt x="270095" y="88971"/>
                  </a:moveTo>
                  <a:lnTo>
                    <a:pt x="236383" y="88971"/>
                  </a:lnTo>
                  <a:lnTo>
                    <a:pt x="23645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34" y="301425"/>
                  </a:lnTo>
                  <a:lnTo>
                    <a:pt x="279818" y="300922"/>
                  </a:lnTo>
                  <a:lnTo>
                    <a:pt x="279829" y="299791"/>
                  </a:lnTo>
                  <a:lnTo>
                    <a:pt x="270095" y="88971"/>
                  </a:lnTo>
                  <a:close/>
                </a:path>
                <a:path w="280034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15" y="93913"/>
                  </a:lnTo>
                  <a:lnTo>
                    <a:pt x="46189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47" y="301362"/>
                  </a:lnTo>
                  <a:lnTo>
                    <a:pt x="144396" y="299791"/>
                  </a:lnTo>
                  <a:lnTo>
                    <a:pt x="174769" y="230422"/>
                  </a:lnTo>
                  <a:lnTo>
                    <a:pt x="139977" y="230422"/>
                  </a:lnTo>
                  <a:lnTo>
                    <a:pt x="13907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4" h="301625" extrusionOk="0">
                  <a:moveTo>
                    <a:pt x="265513" y="0"/>
                  </a:moveTo>
                  <a:lnTo>
                    <a:pt x="252633" y="0"/>
                  </a:lnTo>
                  <a:lnTo>
                    <a:pt x="245657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9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5" y="88971"/>
                  </a:lnTo>
                  <a:lnTo>
                    <a:pt x="266039" y="1140"/>
                  </a:lnTo>
                  <a:lnTo>
                    <a:pt x="265994" y="460"/>
                  </a:lnTo>
                  <a:lnTo>
                    <a:pt x="2655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70;p32"/>
            <p:cNvSpPr/>
            <p:nvPr/>
          </p:nvSpPr>
          <p:spPr>
            <a:xfrm>
              <a:off x="1846406" y="482228"/>
              <a:ext cx="280035" cy="301625"/>
            </a:xfrm>
            <a:custGeom>
              <a:avLst/>
              <a:gdLst/>
              <a:ahLst/>
              <a:cxnLst/>
              <a:rect l="l" t="t" r="r" b="b"/>
              <a:pathLst>
                <a:path w="280035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2" y="300922"/>
                  </a:lnTo>
                  <a:lnTo>
                    <a:pt x="505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5" h="301625" extrusionOk="0">
                  <a:moveTo>
                    <a:pt x="270096" y="88971"/>
                  </a:moveTo>
                  <a:lnTo>
                    <a:pt x="236383" y="88971"/>
                  </a:lnTo>
                  <a:lnTo>
                    <a:pt x="23646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55" y="301425"/>
                  </a:lnTo>
                  <a:lnTo>
                    <a:pt x="279830" y="300922"/>
                  </a:lnTo>
                  <a:lnTo>
                    <a:pt x="279840" y="299791"/>
                  </a:lnTo>
                  <a:lnTo>
                    <a:pt x="270096" y="88971"/>
                  </a:lnTo>
                  <a:close/>
                </a:path>
                <a:path w="280035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25" y="93913"/>
                  </a:lnTo>
                  <a:lnTo>
                    <a:pt x="46200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58" y="301362"/>
                  </a:lnTo>
                  <a:lnTo>
                    <a:pt x="144385" y="299791"/>
                  </a:lnTo>
                  <a:lnTo>
                    <a:pt x="174762" y="230422"/>
                  </a:lnTo>
                  <a:lnTo>
                    <a:pt x="139977" y="230422"/>
                  </a:lnTo>
                  <a:lnTo>
                    <a:pt x="13908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5" h="301625" extrusionOk="0">
                  <a:moveTo>
                    <a:pt x="265523" y="0"/>
                  </a:moveTo>
                  <a:lnTo>
                    <a:pt x="252633" y="0"/>
                  </a:lnTo>
                  <a:lnTo>
                    <a:pt x="245661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2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6" y="88971"/>
                  </a:lnTo>
                  <a:lnTo>
                    <a:pt x="266005" y="460"/>
                  </a:lnTo>
                  <a:lnTo>
                    <a:pt x="2655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71;p32"/>
            <p:cNvSpPr/>
            <p:nvPr/>
          </p:nvSpPr>
          <p:spPr>
            <a:xfrm>
              <a:off x="1529433" y="482231"/>
              <a:ext cx="231139" cy="301625"/>
            </a:xfrm>
            <a:custGeom>
              <a:avLst/>
              <a:gdLst/>
              <a:ahLst/>
              <a:cxnLst/>
              <a:rect l="l" t="t" r="r" b="b"/>
              <a:pathLst>
                <a:path w="231139" h="301625" extrusionOk="0">
                  <a:moveTo>
                    <a:pt x="115326" y="0"/>
                  </a:moveTo>
                  <a:lnTo>
                    <a:pt x="79255" y="13210"/>
                  </a:lnTo>
                  <a:lnTo>
                    <a:pt x="59050" y="49820"/>
                  </a:lnTo>
                  <a:lnTo>
                    <a:pt x="0" y="300577"/>
                  </a:lnTo>
                  <a:lnTo>
                    <a:pt x="670" y="301425"/>
                  </a:lnTo>
                  <a:lnTo>
                    <a:pt x="33140" y="301435"/>
                  </a:lnTo>
                  <a:lnTo>
                    <a:pt x="33758" y="301435"/>
                  </a:lnTo>
                  <a:lnTo>
                    <a:pt x="34302" y="301006"/>
                  </a:lnTo>
                  <a:lnTo>
                    <a:pt x="59390" y="194643"/>
                  </a:lnTo>
                  <a:lnTo>
                    <a:pt x="205578" y="194643"/>
                  </a:lnTo>
                  <a:lnTo>
                    <a:pt x="197455" y="160162"/>
                  </a:lnTo>
                  <a:lnTo>
                    <a:pt x="67453" y="160162"/>
                  </a:lnTo>
                  <a:lnTo>
                    <a:pt x="92184" y="54239"/>
                  </a:lnTo>
                  <a:lnTo>
                    <a:pt x="95584" y="45323"/>
                  </a:lnTo>
                  <a:lnTo>
                    <a:pt x="100635" y="38826"/>
                  </a:lnTo>
                  <a:lnTo>
                    <a:pt x="107233" y="34872"/>
                  </a:lnTo>
                  <a:lnTo>
                    <a:pt x="115294" y="33538"/>
                  </a:lnTo>
                  <a:lnTo>
                    <a:pt x="165449" y="33538"/>
                  </a:lnTo>
                  <a:lnTo>
                    <a:pt x="163871" y="29264"/>
                  </a:lnTo>
                  <a:lnTo>
                    <a:pt x="151809" y="13739"/>
                  </a:lnTo>
                  <a:lnTo>
                    <a:pt x="135903" y="3807"/>
                  </a:lnTo>
                  <a:lnTo>
                    <a:pt x="116781" y="31"/>
                  </a:lnTo>
                  <a:lnTo>
                    <a:pt x="115326" y="0"/>
                  </a:lnTo>
                  <a:close/>
                </a:path>
                <a:path w="231139" h="301625" extrusionOk="0">
                  <a:moveTo>
                    <a:pt x="205578" y="194643"/>
                  </a:moveTo>
                  <a:lnTo>
                    <a:pt x="171146" y="194643"/>
                  </a:lnTo>
                  <a:lnTo>
                    <a:pt x="196698" y="301006"/>
                  </a:lnTo>
                  <a:lnTo>
                    <a:pt x="197219" y="301404"/>
                  </a:lnTo>
                  <a:lnTo>
                    <a:pt x="228956" y="301435"/>
                  </a:lnTo>
                  <a:lnTo>
                    <a:pt x="229856" y="301435"/>
                  </a:lnTo>
                  <a:lnTo>
                    <a:pt x="230516" y="300577"/>
                  </a:lnTo>
                  <a:lnTo>
                    <a:pt x="230328" y="299697"/>
                  </a:lnTo>
                  <a:lnTo>
                    <a:pt x="205578" y="194643"/>
                  </a:lnTo>
                  <a:close/>
                </a:path>
                <a:path w="231139" h="301625" extrusionOk="0">
                  <a:moveTo>
                    <a:pt x="165449" y="33538"/>
                  </a:moveTo>
                  <a:lnTo>
                    <a:pt x="115294" y="33538"/>
                  </a:lnTo>
                  <a:lnTo>
                    <a:pt x="116279" y="33559"/>
                  </a:lnTo>
                  <a:lnTo>
                    <a:pt x="123952" y="35114"/>
                  </a:lnTo>
                  <a:lnTo>
                    <a:pt x="130240" y="39132"/>
                  </a:lnTo>
                  <a:lnTo>
                    <a:pt x="135066" y="45533"/>
                  </a:lnTo>
                  <a:lnTo>
                    <a:pt x="138364" y="54291"/>
                  </a:lnTo>
                  <a:lnTo>
                    <a:pt x="163084" y="160162"/>
                  </a:lnTo>
                  <a:lnTo>
                    <a:pt x="197455" y="160162"/>
                  </a:lnTo>
                  <a:lnTo>
                    <a:pt x="171453" y="49799"/>
                  </a:lnTo>
                  <a:lnTo>
                    <a:pt x="165449" y="335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72;p32"/>
            <p:cNvSpPr/>
            <p:nvPr/>
          </p:nvSpPr>
          <p:spPr>
            <a:xfrm>
              <a:off x="2516788" y="482026"/>
              <a:ext cx="207010" cy="302895"/>
            </a:xfrm>
            <a:custGeom>
              <a:avLst/>
              <a:gdLst/>
              <a:ahLst/>
              <a:cxnLst/>
              <a:rect l="l" t="t" r="r" b="b"/>
              <a:pathLst>
                <a:path w="207010" h="302895" extrusionOk="0">
                  <a:moveTo>
                    <a:pt x="6020" y="20"/>
                  </a:moveTo>
                  <a:lnTo>
                    <a:pt x="659" y="31"/>
                  </a:lnTo>
                  <a:lnTo>
                    <a:pt x="125" y="544"/>
                  </a:lnTo>
                  <a:lnTo>
                    <a:pt x="0" y="199480"/>
                  </a:lnTo>
                  <a:lnTo>
                    <a:pt x="7095" y="242011"/>
                  </a:lnTo>
                  <a:lnTo>
                    <a:pt x="27699" y="274589"/>
                  </a:lnTo>
                  <a:lnTo>
                    <a:pt x="60269" y="295201"/>
                  </a:lnTo>
                  <a:lnTo>
                    <a:pt x="103358" y="302399"/>
                  </a:lnTo>
                  <a:lnTo>
                    <a:pt x="146015" y="295066"/>
                  </a:lnTo>
                  <a:lnTo>
                    <a:pt x="178618" y="274228"/>
                  </a:lnTo>
                  <a:lnTo>
                    <a:pt x="181363" y="269928"/>
                  </a:lnTo>
                  <a:lnTo>
                    <a:pt x="103347" y="269928"/>
                  </a:lnTo>
                  <a:lnTo>
                    <a:pt x="70907" y="263490"/>
                  </a:lnTo>
                  <a:lnTo>
                    <a:pt x="49461" y="246889"/>
                  </a:lnTo>
                  <a:lnTo>
                    <a:pt x="37616" y="224195"/>
                  </a:lnTo>
                  <a:lnTo>
                    <a:pt x="33977" y="199480"/>
                  </a:lnTo>
                  <a:lnTo>
                    <a:pt x="33977" y="19297"/>
                  </a:lnTo>
                  <a:lnTo>
                    <a:pt x="31171" y="11779"/>
                  </a:lnTo>
                  <a:lnTo>
                    <a:pt x="19172" y="816"/>
                  </a:lnTo>
                  <a:lnTo>
                    <a:pt x="11026" y="31"/>
                  </a:lnTo>
                  <a:lnTo>
                    <a:pt x="6020" y="31"/>
                  </a:lnTo>
                  <a:close/>
                </a:path>
                <a:path w="207010" h="302895" extrusionOk="0">
                  <a:moveTo>
                    <a:pt x="205962" y="20"/>
                  </a:moveTo>
                  <a:lnTo>
                    <a:pt x="172689" y="19297"/>
                  </a:lnTo>
                  <a:lnTo>
                    <a:pt x="172685" y="199480"/>
                  </a:lnTo>
                  <a:lnTo>
                    <a:pt x="169049" y="224195"/>
                  </a:lnTo>
                  <a:lnTo>
                    <a:pt x="157209" y="246889"/>
                  </a:lnTo>
                  <a:lnTo>
                    <a:pt x="135773" y="263490"/>
                  </a:lnTo>
                  <a:lnTo>
                    <a:pt x="103347" y="269928"/>
                  </a:lnTo>
                  <a:lnTo>
                    <a:pt x="181363" y="269928"/>
                  </a:lnTo>
                  <a:lnTo>
                    <a:pt x="199443" y="241605"/>
                  </a:lnTo>
                  <a:lnTo>
                    <a:pt x="206768" y="198915"/>
                  </a:lnTo>
                  <a:lnTo>
                    <a:pt x="206552" y="19308"/>
                  </a:lnTo>
                  <a:lnTo>
                    <a:pt x="206496" y="544"/>
                  </a:lnTo>
                  <a:lnTo>
                    <a:pt x="205962" y="20"/>
                  </a:lnTo>
                  <a:close/>
                </a:path>
                <a:path w="207010" h="302895" extrusionOk="0">
                  <a:moveTo>
                    <a:pt x="10701" y="0"/>
                  </a:moveTo>
                  <a:lnTo>
                    <a:pt x="6020" y="31"/>
                  </a:lnTo>
                  <a:lnTo>
                    <a:pt x="11026" y="31"/>
                  </a:lnTo>
                  <a:lnTo>
                    <a:pt x="10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73;p32"/>
            <p:cNvSpPr/>
            <p:nvPr/>
          </p:nvSpPr>
          <p:spPr>
            <a:xfrm>
              <a:off x="424394" y="385909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81" y="101634"/>
                  </a:moveTo>
                  <a:lnTo>
                    <a:pt x="74641" y="101634"/>
                  </a:lnTo>
                  <a:lnTo>
                    <a:pt x="106083" y="109131"/>
                  </a:lnTo>
                  <a:lnTo>
                    <a:pt x="145084" y="131399"/>
                  </a:lnTo>
                  <a:lnTo>
                    <a:pt x="189765" y="155922"/>
                  </a:lnTo>
                  <a:lnTo>
                    <a:pt x="226550" y="160239"/>
                  </a:lnTo>
                  <a:lnTo>
                    <a:pt x="254653" y="145763"/>
                  </a:lnTo>
                  <a:lnTo>
                    <a:pt x="273290" y="113902"/>
                  </a:lnTo>
                  <a:lnTo>
                    <a:pt x="279081" y="101634"/>
                  </a:lnTo>
                  <a:close/>
                </a:path>
                <a:path w="359409" h="160654" extrusionOk="0">
                  <a:moveTo>
                    <a:pt x="212998" y="0"/>
                  </a:moveTo>
                  <a:lnTo>
                    <a:pt x="162518" y="5224"/>
                  </a:lnTo>
                  <a:lnTo>
                    <a:pt x="112322" y="21446"/>
                  </a:lnTo>
                  <a:lnTo>
                    <a:pt x="67924" y="46857"/>
                  </a:lnTo>
                  <a:lnTo>
                    <a:pt x="30193" y="80129"/>
                  </a:lnTo>
                  <a:lnTo>
                    <a:pt x="0" y="119933"/>
                  </a:lnTo>
                  <a:lnTo>
                    <a:pt x="6106" y="121008"/>
                  </a:lnTo>
                  <a:lnTo>
                    <a:pt x="13031" y="119303"/>
                  </a:lnTo>
                  <a:lnTo>
                    <a:pt x="20976" y="115744"/>
                  </a:lnTo>
                  <a:lnTo>
                    <a:pt x="30145" y="111253"/>
                  </a:lnTo>
                  <a:lnTo>
                    <a:pt x="49686" y="103983"/>
                  </a:lnTo>
                  <a:lnTo>
                    <a:pt x="74641" y="101634"/>
                  </a:lnTo>
                  <a:lnTo>
                    <a:pt x="279081" y="101634"/>
                  </a:lnTo>
                  <a:lnTo>
                    <a:pt x="292344" y="73538"/>
                  </a:lnTo>
                  <a:lnTo>
                    <a:pt x="312455" y="53041"/>
                  </a:lnTo>
                  <a:lnTo>
                    <a:pt x="331565" y="45787"/>
                  </a:lnTo>
                  <a:lnTo>
                    <a:pt x="347622" y="45150"/>
                  </a:lnTo>
                  <a:lnTo>
                    <a:pt x="357129" y="45150"/>
                  </a:lnTo>
                  <a:lnTo>
                    <a:pt x="358952" y="44365"/>
                  </a:lnTo>
                  <a:lnTo>
                    <a:pt x="326124" y="25731"/>
                  </a:lnTo>
                  <a:lnTo>
                    <a:pt x="290275" y="11781"/>
                  </a:lnTo>
                  <a:lnTo>
                    <a:pt x="252276" y="3031"/>
                  </a:lnTo>
                  <a:lnTo>
                    <a:pt x="212998" y="0"/>
                  </a:lnTo>
                  <a:close/>
                </a:path>
                <a:path w="359409" h="160654" extrusionOk="0">
                  <a:moveTo>
                    <a:pt x="357129" y="45150"/>
                  </a:moveTo>
                  <a:lnTo>
                    <a:pt x="347622" y="45150"/>
                  </a:lnTo>
                  <a:lnTo>
                    <a:pt x="356376" y="45475"/>
                  </a:lnTo>
                  <a:lnTo>
                    <a:pt x="357129" y="451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74;p32"/>
            <p:cNvSpPr/>
            <p:nvPr/>
          </p:nvSpPr>
          <p:spPr>
            <a:xfrm>
              <a:off x="424395" y="385915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76" y="101633"/>
                  </a:moveTo>
                  <a:lnTo>
                    <a:pt x="74633" y="101633"/>
                  </a:lnTo>
                  <a:lnTo>
                    <a:pt x="106077" y="109131"/>
                  </a:lnTo>
                  <a:lnTo>
                    <a:pt x="145084" y="131399"/>
                  </a:lnTo>
                  <a:lnTo>
                    <a:pt x="189765" y="155921"/>
                  </a:lnTo>
                  <a:lnTo>
                    <a:pt x="226550" y="160238"/>
                  </a:lnTo>
                  <a:lnTo>
                    <a:pt x="254653" y="145758"/>
                  </a:lnTo>
                  <a:lnTo>
                    <a:pt x="273290" y="113891"/>
                  </a:lnTo>
                  <a:lnTo>
                    <a:pt x="279076" y="101633"/>
                  </a:lnTo>
                  <a:close/>
                </a:path>
                <a:path w="359409" h="160654" extrusionOk="0">
                  <a:moveTo>
                    <a:pt x="212988" y="0"/>
                  </a:moveTo>
                  <a:lnTo>
                    <a:pt x="162518" y="5214"/>
                  </a:lnTo>
                  <a:lnTo>
                    <a:pt x="112322" y="21440"/>
                  </a:lnTo>
                  <a:lnTo>
                    <a:pt x="67924" y="46851"/>
                  </a:lnTo>
                  <a:lnTo>
                    <a:pt x="30193" y="80124"/>
                  </a:lnTo>
                  <a:lnTo>
                    <a:pt x="0" y="119933"/>
                  </a:lnTo>
                  <a:lnTo>
                    <a:pt x="6106" y="121006"/>
                  </a:lnTo>
                  <a:lnTo>
                    <a:pt x="13031" y="119298"/>
                  </a:lnTo>
                  <a:lnTo>
                    <a:pt x="20976" y="115735"/>
                  </a:lnTo>
                  <a:lnTo>
                    <a:pt x="30145" y="111242"/>
                  </a:lnTo>
                  <a:lnTo>
                    <a:pt x="49680" y="103978"/>
                  </a:lnTo>
                  <a:lnTo>
                    <a:pt x="74633" y="101633"/>
                  </a:lnTo>
                  <a:lnTo>
                    <a:pt x="279076" y="101633"/>
                  </a:lnTo>
                  <a:lnTo>
                    <a:pt x="292342" y="73532"/>
                  </a:lnTo>
                  <a:lnTo>
                    <a:pt x="312455" y="53035"/>
                  </a:lnTo>
                  <a:lnTo>
                    <a:pt x="331568" y="45778"/>
                  </a:lnTo>
                  <a:lnTo>
                    <a:pt x="347622" y="45139"/>
                  </a:lnTo>
                  <a:lnTo>
                    <a:pt x="357132" y="45139"/>
                  </a:lnTo>
                  <a:lnTo>
                    <a:pt x="358962" y="44354"/>
                  </a:lnTo>
                  <a:lnTo>
                    <a:pt x="326129" y="25722"/>
                  </a:lnTo>
                  <a:lnTo>
                    <a:pt x="290279" y="11775"/>
                  </a:lnTo>
                  <a:lnTo>
                    <a:pt x="252276" y="3029"/>
                  </a:lnTo>
                  <a:lnTo>
                    <a:pt x="212988" y="0"/>
                  </a:lnTo>
                  <a:close/>
                </a:path>
                <a:path w="359409" h="160654" extrusionOk="0">
                  <a:moveTo>
                    <a:pt x="357132" y="45139"/>
                  </a:moveTo>
                  <a:lnTo>
                    <a:pt x="347622" y="45139"/>
                  </a:lnTo>
                  <a:lnTo>
                    <a:pt x="356376" y="45464"/>
                  </a:lnTo>
                  <a:lnTo>
                    <a:pt x="357132" y="45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75;p32"/>
            <p:cNvSpPr/>
            <p:nvPr/>
          </p:nvSpPr>
          <p:spPr>
            <a:xfrm>
              <a:off x="388141" y="471829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76" y="81522"/>
                  </a:moveTo>
                  <a:lnTo>
                    <a:pt x="8920" y="117624"/>
                  </a:lnTo>
                  <a:lnTo>
                    <a:pt x="0" y="188780"/>
                  </a:lnTo>
                  <a:lnTo>
                    <a:pt x="6086" y="225752"/>
                  </a:lnTo>
                  <a:lnTo>
                    <a:pt x="20970" y="268684"/>
                  </a:lnTo>
                  <a:lnTo>
                    <a:pt x="42648" y="307244"/>
                  </a:lnTo>
                  <a:lnTo>
                    <a:pt x="70253" y="340900"/>
                  </a:lnTo>
                  <a:lnTo>
                    <a:pt x="102915" y="369119"/>
                  </a:lnTo>
                  <a:lnTo>
                    <a:pt x="139767" y="391369"/>
                  </a:lnTo>
                  <a:lnTo>
                    <a:pt x="179940" y="407118"/>
                  </a:lnTo>
                  <a:lnTo>
                    <a:pt x="222565" y="415835"/>
                  </a:lnTo>
                  <a:lnTo>
                    <a:pt x="266775" y="416986"/>
                  </a:lnTo>
                  <a:lnTo>
                    <a:pt x="311700" y="410039"/>
                  </a:lnTo>
                  <a:lnTo>
                    <a:pt x="354634" y="395197"/>
                  </a:lnTo>
                  <a:lnTo>
                    <a:pt x="393129" y="373594"/>
                  </a:lnTo>
                  <a:lnTo>
                    <a:pt x="426673" y="346089"/>
                  </a:lnTo>
                  <a:lnTo>
                    <a:pt x="454752" y="313541"/>
                  </a:lnTo>
                  <a:lnTo>
                    <a:pt x="476854" y="276810"/>
                  </a:lnTo>
                  <a:lnTo>
                    <a:pt x="489166" y="245222"/>
                  </a:lnTo>
                  <a:lnTo>
                    <a:pt x="277441" y="245222"/>
                  </a:lnTo>
                  <a:lnTo>
                    <a:pt x="237962" y="242999"/>
                  </a:lnTo>
                  <a:lnTo>
                    <a:pt x="198668" y="226846"/>
                  </a:lnTo>
                  <a:lnTo>
                    <a:pt x="162891" y="198831"/>
                  </a:lnTo>
                  <a:lnTo>
                    <a:pt x="133967" y="161021"/>
                  </a:lnTo>
                  <a:lnTo>
                    <a:pt x="114325" y="124854"/>
                  </a:lnTo>
                  <a:lnTo>
                    <a:pt x="104289" y="109255"/>
                  </a:lnTo>
                  <a:lnTo>
                    <a:pt x="91455" y="94845"/>
                  </a:lnTo>
                  <a:lnTo>
                    <a:pt x="75799" y="84974"/>
                  </a:lnTo>
                  <a:lnTo>
                    <a:pt x="58476" y="81522"/>
                  </a:lnTo>
                  <a:close/>
                </a:path>
                <a:path w="502284" h="417194" extrusionOk="0">
                  <a:moveTo>
                    <a:pt x="416942" y="0"/>
                  </a:moveTo>
                  <a:lnTo>
                    <a:pt x="382472" y="29308"/>
                  </a:lnTo>
                  <a:lnTo>
                    <a:pt x="374088" y="67766"/>
                  </a:lnTo>
                  <a:lnTo>
                    <a:pt x="368364" y="112970"/>
                  </a:lnTo>
                  <a:lnTo>
                    <a:pt x="359980" y="158920"/>
                  </a:lnTo>
                  <a:lnTo>
                    <a:pt x="343615" y="199616"/>
                  </a:lnTo>
                  <a:lnTo>
                    <a:pt x="313770" y="231450"/>
                  </a:lnTo>
                  <a:lnTo>
                    <a:pt x="277441" y="245222"/>
                  </a:lnTo>
                  <a:lnTo>
                    <a:pt x="489166" y="245222"/>
                  </a:lnTo>
                  <a:lnTo>
                    <a:pt x="492466" y="236755"/>
                  </a:lnTo>
                  <a:lnTo>
                    <a:pt x="501075" y="194234"/>
                  </a:lnTo>
                  <a:lnTo>
                    <a:pt x="502168" y="150107"/>
                  </a:lnTo>
                  <a:lnTo>
                    <a:pt x="495233" y="105232"/>
                  </a:lnTo>
                  <a:lnTo>
                    <a:pt x="476074" y="52247"/>
                  </a:lnTo>
                  <a:lnTo>
                    <a:pt x="448763" y="14449"/>
                  </a:lnTo>
                  <a:lnTo>
                    <a:pt x="424210" y="814"/>
                  </a:lnTo>
                  <a:lnTo>
                    <a:pt x="4169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76;p32"/>
            <p:cNvSpPr/>
            <p:nvPr/>
          </p:nvSpPr>
          <p:spPr>
            <a:xfrm>
              <a:off x="388140" y="471828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81" y="81526"/>
                  </a:moveTo>
                  <a:lnTo>
                    <a:pt x="8917" y="117624"/>
                  </a:lnTo>
                  <a:lnTo>
                    <a:pt x="0" y="188784"/>
                  </a:lnTo>
                  <a:lnTo>
                    <a:pt x="6087" y="225762"/>
                  </a:lnTo>
                  <a:lnTo>
                    <a:pt x="20968" y="268691"/>
                  </a:lnTo>
                  <a:lnTo>
                    <a:pt x="42645" y="307249"/>
                  </a:lnTo>
                  <a:lnTo>
                    <a:pt x="70249" y="340903"/>
                  </a:lnTo>
                  <a:lnTo>
                    <a:pt x="102912" y="369121"/>
                  </a:lnTo>
                  <a:lnTo>
                    <a:pt x="139765" y="391370"/>
                  </a:lnTo>
                  <a:lnTo>
                    <a:pt x="179939" y="407119"/>
                  </a:lnTo>
                  <a:lnTo>
                    <a:pt x="222565" y="415835"/>
                  </a:lnTo>
                  <a:lnTo>
                    <a:pt x="266776" y="416986"/>
                  </a:lnTo>
                  <a:lnTo>
                    <a:pt x="311701" y="410039"/>
                  </a:lnTo>
                  <a:lnTo>
                    <a:pt x="354635" y="395197"/>
                  </a:lnTo>
                  <a:lnTo>
                    <a:pt x="393131" y="373594"/>
                  </a:lnTo>
                  <a:lnTo>
                    <a:pt x="426674" y="346089"/>
                  </a:lnTo>
                  <a:lnTo>
                    <a:pt x="454754" y="313542"/>
                  </a:lnTo>
                  <a:lnTo>
                    <a:pt x="476856" y="276812"/>
                  </a:lnTo>
                  <a:lnTo>
                    <a:pt x="489166" y="245228"/>
                  </a:lnTo>
                  <a:lnTo>
                    <a:pt x="277443" y="245228"/>
                  </a:lnTo>
                  <a:lnTo>
                    <a:pt x="237964" y="243004"/>
                  </a:lnTo>
                  <a:lnTo>
                    <a:pt x="198669" y="226851"/>
                  </a:lnTo>
                  <a:lnTo>
                    <a:pt x="162892" y="198835"/>
                  </a:lnTo>
                  <a:lnTo>
                    <a:pt x="133968" y="161021"/>
                  </a:lnTo>
                  <a:lnTo>
                    <a:pt x="114326" y="124858"/>
                  </a:lnTo>
                  <a:lnTo>
                    <a:pt x="104291" y="109256"/>
                  </a:lnTo>
                  <a:lnTo>
                    <a:pt x="91456" y="94845"/>
                  </a:lnTo>
                  <a:lnTo>
                    <a:pt x="75802" y="84975"/>
                  </a:lnTo>
                  <a:lnTo>
                    <a:pt x="58481" y="81526"/>
                  </a:lnTo>
                  <a:close/>
                </a:path>
                <a:path w="502284" h="417194" extrusionOk="0">
                  <a:moveTo>
                    <a:pt x="416944" y="0"/>
                  </a:moveTo>
                  <a:lnTo>
                    <a:pt x="382474" y="29308"/>
                  </a:lnTo>
                  <a:lnTo>
                    <a:pt x="374089" y="67764"/>
                  </a:lnTo>
                  <a:lnTo>
                    <a:pt x="368366" y="112967"/>
                  </a:lnTo>
                  <a:lnTo>
                    <a:pt x="359982" y="158920"/>
                  </a:lnTo>
                  <a:lnTo>
                    <a:pt x="343616" y="199627"/>
                  </a:lnTo>
                  <a:lnTo>
                    <a:pt x="313772" y="231457"/>
                  </a:lnTo>
                  <a:lnTo>
                    <a:pt x="277443" y="245228"/>
                  </a:lnTo>
                  <a:lnTo>
                    <a:pt x="489166" y="245228"/>
                  </a:lnTo>
                  <a:lnTo>
                    <a:pt x="492467" y="236758"/>
                  </a:lnTo>
                  <a:lnTo>
                    <a:pt x="501076" y="194239"/>
                  </a:lnTo>
                  <a:lnTo>
                    <a:pt x="502170" y="150114"/>
                  </a:lnTo>
                  <a:lnTo>
                    <a:pt x="495235" y="105242"/>
                  </a:lnTo>
                  <a:lnTo>
                    <a:pt x="476072" y="52248"/>
                  </a:lnTo>
                  <a:lnTo>
                    <a:pt x="448765" y="14449"/>
                  </a:lnTo>
                  <a:lnTo>
                    <a:pt x="424216" y="816"/>
                  </a:lnTo>
                  <a:lnTo>
                    <a:pt x="4169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06213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51022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7074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70502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4025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925085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7833133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 title slide" type="secHead">
  <p:cSld name="Dark title slide">
    <p:bg>
      <p:bgPr>
        <a:solidFill>
          <a:srgbClr val="21212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30"/>
          <p:cNvSpPr txBox="1">
            <a:spLocks noGrp="1"/>
          </p:cNvSpPr>
          <p:nvPr>
            <p:ph type="title"/>
          </p:nvPr>
        </p:nvSpPr>
        <p:spPr>
          <a:xfrm>
            <a:off x="1000769" y="2283389"/>
            <a:ext cx="7919545" cy="2049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700"/>
              <a:buNone/>
              <a:defRPr sz="8308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30"/>
          <p:cNvSpPr txBox="1">
            <a:spLocks noGrp="1"/>
          </p:cNvSpPr>
          <p:nvPr>
            <p:ph type="subTitle" idx="1"/>
          </p:nvPr>
        </p:nvSpPr>
        <p:spPr>
          <a:xfrm>
            <a:off x="1052469" y="4207816"/>
            <a:ext cx="4932932" cy="798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lvl="1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185676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90413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258510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853132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820854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276906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692421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556559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574757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36563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741322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ream title slide">
  <p:cSld name="Cream title slide">
    <p:bg>
      <p:bgPr>
        <a:solidFill>
          <a:srgbClr val="F6EAE0"/>
        </a:solidFill>
        <a:effectLst/>
      </p:bgPr>
    </p:bg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31"/>
          <p:cNvPicPr preferRelativeResize="0"/>
          <p:nvPr/>
        </p:nvPicPr>
        <p:blipFill rotWithShape="1">
          <a:blip r:embed="rId2">
            <a:alphaModFix/>
          </a:blip>
          <a:srcRect r="23784"/>
          <a:stretch/>
        </p:blipFill>
        <p:spPr>
          <a:xfrm>
            <a:off x="5205149" y="2931146"/>
            <a:ext cx="6986851" cy="3926855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31"/>
          <p:cNvSpPr txBox="1">
            <a:spLocks noGrp="1"/>
          </p:cNvSpPr>
          <p:nvPr>
            <p:ph type="title"/>
          </p:nvPr>
        </p:nvSpPr>
        <p:spPr>
          <a:xfrm>
            <a:off x="1000769" y="2116432"/>
            <a:ext cx="7919545" cy="2049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3700"/>
              <a:buNone/>
              <a:defRPr sz="8308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31"/>
          <p:cNvSpPr txBox="1">
            <a:spLocks noGrp="1"/>
          </p:cNvSpPr>
          <p:nvPr>
            <p:ph type="subTitle" idx="1"/>
          </p:nvPr>
        </p:nvSpPr>
        <p:spPr>
          <a:xfrm>
            <a:off x="1052469" y="4207816"/>
            <a:ext cx="4932932" cy="798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lvl="1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4245259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7245730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8609782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2933408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2182964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431384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899105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317535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8137173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4320000" y="3400021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3394267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3400021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75095941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5606500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 side heading slide">
  <p:cSld name="Dark side heading slide">
    <p:bg>
      <p:bgPr>
        <a:solidFill>
          <a:srgbClr val="212121"/>
        </a:soli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33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9" name="Google Shape;79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60500" y="635175"/>
            <a:ext cx="1946563" cy="786063"/>
          </a:xfrm>
          <a:prstGeom prst="rect">
            <a:avLst/>
          </a:prstGeom>
          <a:noFill/>
          <a:ln>
            <a:noFill/>
          </a:ln>
        </p:spPr>
      </p:pic>
      <p:pic>
        <p:nvPicPr>
          <p:cNvPr id="80" name="Google Shape;80;p33"/>
          <p:cNvPicPr preferRelativeResize="0"/>
          <p:nvPr/>
        </p:nvPicPr>
        <p:blipFill rotWithShape="1">
          <a:blip r:embed="rId3">
            <a:alphaModFix/>
          </a:blip>
          <a:srcRect t="2999" r="-8742" b="48907"/>
          <a:stretch/>
        </p:blipFill>
        <p:spPr>
          <a:xfrm flipH="1">
            <a:off x="0" y="5395755"/>
            <a:ext cx="7718888" cy="14622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1" name="Google Shape;81;p33"/>
          <p:cNvPicPr preferRelativeResize="0"/>
          <p:nvPr/>
        </p:nvPicPr>
        <p:blipFill rotWithShape="1">
          <a:blip r:embed="rId3">
            <a:alphaModFix/>
          </a:blip>
          <a:srcRect l="-15947" t="52973" r="32668"/>
          <a:stretch/>
        </p:blipFill>
        <p:spPr>
          <a:xfrm>
            <a:off x="6280557" y="5411947"/>
            <a:ext cx="5911444" cy="1429863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33"/>
          <p:cNvSpPr txBox="1">
            <a:spLocks noGrp="1"/>
          </p:cNvSpPr>
          <p:nvPr>
            <p:ph type="title"/>
          </p:nvPr>
        </p:nvSpPr>
        <p:spPr>
          <a:xfrm>
            <a:off x="960501" y="1565365"/>
            <a:ext cx="4384951" cy="2923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900"/>
              <a:buNone/>
              <a:defRPr sz="6004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33"/>
          <p:cNvSpPr txBox="1">
            <a:spLocks noGrp="1"/>
          </p:cNvSpPr>
          <p:nvPr>
            <p:ph type="body" idx="1"/>
          </p:nvPr>
        </p:nvSpPr>
        <p:spPr>
          <a:xfrm>
            <a:off x="5944814" y="1600081"/>
            <a:ext cx="5351743" cy="3262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●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○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■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●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○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■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●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○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■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558259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484689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474254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0619266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726AC9-51A8-4015-9370-C7A9F06E80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7200" y="6271200"/>
            <a:ext cx="1019302" cy="3461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135964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8464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een gradient background">
  <p:cSld name="Green gradient background">
    <p:bg>
      <p:bgPr>
        <a:gradFill>
          <a:gsLst>
            <a:gs pos="0">
              <a:srgbClr val="3FB95B"/>
            </a:gs>
            <a:gs pos="100000">
              <a:srgbClr val="251E59"/>
            </a:gs>
          </a:gsLst>
          <a:lin ang="2698631" scaled="0"/>
        </a:gradFill>
        <a:effectLst/>
      </p:bgPr>
    </p:bg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42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9" name="Google Shape;119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81237" y="57050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8129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contents slide">
  <p:cSld name="Table contents slide">
    <p:bg>
      <p:bgPr>
        <a:solidFill>
          <a:srgbClr val="F6EAE0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Google Shape;85;p34"/>
          <p:cNvPicPr preferRelativeResize="0"/>
          <p:nvPr/>
        </p:nvPicPr>
        <p:blipFill rotWithShape="1">
          <a:blip r:embed="rId2">
            <a:alphaModFix/>
          </a:blip>
          <a:srcRect l="5399" t="5338" r="19491"/>
          <a:stretch/>
        </p:blipFill>
        <p:spPr>
          <a:xfrm rot="5400000">
            <a:off x="6875440" y="1583797"/>
            <a:ext cx="6884953" cy="3717361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34"/>
          <p:cNvSpPr txBox="1">
            <a:spLocks noGrp="1"/>
          </p:cNvSpPr>
          <p:nvPr>
            <p:ph type="title"/>
          </p:nvPr>
        </p:nvSpPr>
        <p:spPr>
          <a:xfrm>
            <a:off x="960500" y="1565363"/>
            <a:ext cx="10723315" cy="923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9900"/>
              <a:buNone/>
              <a:defRPr sz="60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34"/>
          <p:cNvSpPr/>
          <p:nvPr/>
        </p:nvSpPr>
        <p:spPr>
          <a:xfrm>
            <a:off x="947114" y="684612"/>
            <a:ext cx="1740917" cy="42314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5922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74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image" Target="../media/image17.emf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8" cy="763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600"/>
              <a:buFont typeface="Roboto"/>
              <a:buNone/>
              <a:defRPr sz="6600" b="1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7" name="Google Shape;7;p11"/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8" cy="4555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marL="457200" marR="0" lvl="0" indent="-482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Roboto"/>
              <a:buChar char="●"/>
              <a:defRPr sz="4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○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■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●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○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■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●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○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■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" name="Google Shape;8;p11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8691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0" r:id="rId36"/>
    <p:sldLayoutId id="2147483701" r:id="rId37"/>
    <p:sldLayoutId id="2147483702" r:id="rId38"/>
    <p:sldLayoutId id="2147483703" r:id="rId39"/>
    <p:sldLayoutId id="2147483705" r:id="rId40"/>
    <p:sldLayoutId id="2147483706" r:id="rId41"/>
    <p:sldLayoutId id="2147483708" r:id="rId42"/>
    <p:sldLayoutId id="2147483709" r:id="rId43"/>
    <p:sldLayoutId id="2147483710" r:id="rId44"/>
    <p:sldLayoutId id="2147483711" r:id="rId45"/>
    <p:sldLayoutId id="2147483712" r:id="rId46"/>
    <p:sldLayoutId id="2147483713" r:id="rId47"/>
    <p:sldLayoutId id="2147483714" r:id="rId48"/>
    <p:sldLayoutId id="2147483715" r:id="rId49"/>
    <p:sldLayoutId id="2147483716" r:id="rId50"/>
    <p:sldLayoutId id="2147483717" r:id="rId51"/>
    <p:sldLayoutId id="2147483718" r:id="rId52"/>
    <p:sldLayoutId id="2147483753" r:id="rId5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5593475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628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  <p:sldLayoutId id="2147483745" r:id="rId26"/>
    <p:sldLayoutId id="2147483746" r:id="rId27"/>
    <p:sldLayoutId id="2147483747" r:id="rId28"/>
    <p:sldLayoutId id="2147483748" r:id="rId29"/>
    <p:sldLayoutId id="2147483749" r:id="rId30"/>
    <p:sldLayoutId id="2147483751" r:id="rId31"/>
    <p:sldLayoutId id="2147483752" r:id="rId32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1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erresources.s3.eu-west-1.amazonaws.com/109637/learner_resource_uploads/c270e2afe71b5ce6e014532982/Navigate%20Accreditations-1080p-211229.mp4?X-Amz-Algorithm=AWS4-HMAC-SHA256&amp;X-Amz-Credential=AKIAQZVLRHER6MLZQEAI%2F20220302%2Feu-west-1%2Fs3%2Faws4_request&amp;X-Amz-Date=20220302T165804Z&amp;X-Amz-Expires=30&amp;X-Amz-SignedHeaders=host&amp;X-Amz-Signature=d768b24396013745eacb6f5b6bb68daad6a5311698a2ead8c92f4c1c7387b26f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mpo-multitenant.mambuonline.com/" TargetMode="External"/><Relationship Id="rId3" Type="http://schemas.openxmlformats.org/officeDocument/2006/relationships/hyperlink" Target="https://deloittept.sandbox.mambu.com/" TargetMode="External"/><Relationship Id="rId7" Type="http://schemas.openxmlformats.org/officeDocument/2006/relationships/hyperlink" Target="https://api.mambu.com/#welcome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3.xml"/><Relationship Id="rId6" Type="http://schemas.openxmlformats.org/officeDocument/2006/relationships/hyperlink" Target="https://deloittept.sandbox.mambu.com/apidocs/" TargetMode="External"/><Relationship Id="rId5" Type="http://schemas.openxmlformats.org/officeDocument/2006/relationships/hyperlink" Target="https://webhook.site/" TargetMode="External"/><Relationship Id="rId4" Type="http://schemas.openxmlformats.org/officeDocument/2006/relationships/hyperlink" Target="https://support.mambu.com/docs" TargetMode="External"/><Relationship Id="rId9" Type="http://schemas.openxmlformats.org/officeDocument/2006/relationships/hyperlink" Target="https://community.mambu.com/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partners.mambu.com/prm/English/s/training-user/certification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" name="Google Shape;857;p1"/>
          <p:cNvSpPr txBox="1">
            <a:spLocks noGrp="1"/>
          </p:cNvSpPr>
          <p:nvPr>
            <p:ph type="title"/>
          </p:nvPr>
        </p:nvSpPr>
        <p:spPr>
          <a:xfrm>
            <a:off x="1000769" y="2116432"/>
            <a:ext cx="7919545" cy="2049513"/>
          </a:xfrm>
        </p:spPr>
        <p:txBody>
          <a:bodyPr spcFirstLastPara="1" wrap="square" lIns="268033" tIns="268033" rIns="268033" bIns="268033" anchor="t" anchorCtr="0">
            <a:normAutofit/>
          </a:bodyPr>
          <a:lstStyle/>
          <a:p>
            <a:pPr>
              <a:buSzPts val="16020"/>
            </a:pPr>
            <a:r>
              <a:rPr lang="en-US" sz="5800"/>
              <a:t>Mambu Training Manua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58D1ED-EB5E-42D3-937F-1E723DD75233}"/>
              </a:ext>
            </a:extLst>
          </p:cNvPr>
          <p:cNvSpPr/>
          <p:nvPr/>
        </p:nvSpPr>
        <p:spPr>
          <a:xfrm>
            <a:off x="10259975" y="6138224"/>
            <a:ext cx="1165672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</a:rPr>
              <a:t>april 2022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" name="Frame 3">
            <a:extLst>
              <a:ext uri="{FF2B5EF4-FFF2-40B4-BE49-F238E27FC236}">
                <a16:creationId xmlns:a16="http://schemas.microsoft.com/office/drawing/2014/main" id="{02427AC4-EE07-450A-A9B2-6576162B1800}"/>
              </a:ext>
            </a:extLst>
          </p:cNvPr>
          <p:cNvSpPr/>
          <p:nvPr/>
        </p:nvSpPr>
        <p:spPr>
          <a:xfrm>
            <a:off x="0" y="0"/>
            <a:ext cx="12192000" cy="6908800"/>
          </a:xfrm>
          <a:prstGeom prst="frame">
            <a:avLst>
              <a:gd name="adj1" fmla="val 4352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21C8ED-4861-41C5-9507-BE03356117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099" y="6270522"/>
            <a:ext cx="1019302" cy="3461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Register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Partner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450449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pt-PT"/>
              <a:t>6. </a:t>
            </a:r>
            <a:r>
              <a:rPr lang="en-US"/>
              <a:t>In your company mailbox, you will receive the Username and Password to enter the portal. Click on the link to access the Mambu Partner Portal.  </a:t>
            </a:r>
          </a:p>
          <a:p>
            <a:pPr lvl="2" indent="0">
              <a:buNone/>
            </a:pPr>
            <a:r>
              <a:rPr lang="en-US" b="1"/>
              <a:t>Note: </a:t>
            </a:r>
            <a:r>
              <a:rPr lang="en-US"/>
              <a:t>Username and password must not be shared. </a:t>
            </a:r>
            <a:endParaRPr lang="pt-PT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52D622D-38B1-4C7C-AD87-7B9B7EF9330C}"/>
              </a:ext>
            </a:extLst>
          </p:cNvPr>
          <p:cNvGrpSpPr/>
          <p:nvPr/>
        </p:nvGrpSpPr>
        <p:grpSpPr>
          <a:xfrm>
            <a:off x="2368241" y="2120369"/>
            <a:ext cx="7455518" cy="4172960"/>
            <a:chOff x="1989157" y="2120369"/>
            <a:chExt cx="7455518" cy="417296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A4086399-3235-454C-B1DB-DA2948D66AE9}"/>
                </a:ext>
              </a:extLst>
            </p:cNvPr>
            <p:cNvGrpSpPr/>
            <p:nvPr/>
          </p:nvGrpSpPr>
          <p:grpSpPr>
            <a:xfrm>
              <a:off x="1989157" y="2120369"/>
              <a:ext cx="5060045" cy="4172960"/>
              <a:chOff x="1989157" y="2120369"/>
              <a:chExt cx="5060045" cy="4172960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95B3F891-115C-4D8A-97C3-5A45C50C4D81}"/>
                  </a:ext>
                </a:extLst>
              </p:cNvPr>
              <p:cNvSpPr/>
              <p:nvPr/>
            </p:nvSpPr>
            <p:spPr bwMode="gray">
              <a:xfrm>
                <a:off x="5338763" y="3676650"/>
                <a:ext cx="328612" cy="9525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pt-PT" sz="1600" b="1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22D0309D-D838-4538-93D4-F9E6FEA1028A}"/>
                  </a:ext>
                </a:extLst>
              </p:cNvPr>
              <p:cNvGrpSpPr/>
              <p:nvPr/>
            </p:nvGrpSpPr>
            <p:grpSpPr>
              <a:xfrm>
                <a:off x="4698749" y="2120369"/>
                <a:ext cx="2350453" cy="4172960"/>
                <a:chOff x="4698749" y="2120369"/>
                <a:chExt cx="2350453" cy="4172960"/>
              </a:xfrm>
            </p:grpSpPr>
            <p:pic>
              <p:nvPicPr>
                <p:cNvPr id="13" name="Picture 12">
                  <a:extLst>
                    <a:ext uri="{FF2B5EF4-FFF2-40B4-BE49-F238E27FC236}">
                      <a16:creationId xmlns:a16="http://schemas.microsoft.com/office/drawing/2014/main" id="{3A85BCB8-79BF-42DD-A16A-6602950AFF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31069" t="17735" r="38074"/>
                <a:stretch/>
              </p:blipFill>
              <p:spPr>
                <a:xfrm>
                  <a:off x="4698749" y="2120369"/>
                  <a:ext cx="2350453" cy="4172960"/>
                </a:xfrm>
                <a:prstGeom prst="rect">
                  <a:avLst/>
                </a:prstGeom>
              </p:spPr>
            </p:pic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9C520B5D-5233-4FE6-B8B9-D6D437FC4A90}"/>
                    </a:ext>
                  </a:extLst>
                </p:cNvPr>
                <p:cNvSpPr/>
                <p:nvPr/>
              </p:nvSpPr>
              <p:spPr bwMode="gray">
                <a:xfrm>
                  <a:off x="5305425" y="3359433"/>
                  <a:ext cx="446087" cy="139133"/>
                </a:xfrm>
                <a:prstGeom prst="rect">
                  <a:avLst/>
                </a:prstGeom>
                <a:solidFill>
                  <a:schemeClr val="bg1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pt-PT" sz="1600" b="1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EEDEF247-87CD-47E0-88AB-3C8112FB4FA3}"/>
                  </a:ext>
                </a:extLst>
              </p:cNvPr>
              <p:cNvSpPr/>
              <p:nvPr/>
            </p:nvSpPr>
            <p:spPr bwMode="gray">
              <a:xfrm>
                <a:off x="4961299" y="3224384"/>
                <a:ext cx="1479191" cy="270098"/>
              </a:xfrm>
              <a:prstGeom prst="rect">
                <a:avLst/>
              </a:prstGeom>
              <a:noFill/>
              <a:ln w="6350" algn="ctr">
                <a:solidFill>
                  <a:schemeClr val="bg1">
                    <a:lumMod val="65000"/>
                  </a:schemeClr>
                </a:solidFill>
                <a:prstDash val="dash"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pt-PT" sz="1600" b="1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D6CFF92D-2E48-4F36-A0B6-672F9B23436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095750" y="3359433"/>
                <a:ext cx="865550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7D693617-6FDB-4BE2-8827-861721ED3866}"/>
                  </a:ext>
                </a:extLst>
              </p:cNvPr>
              <p:cNvSpPr/>
              <p:nvPr/>
            </p:nvSpPr>
            <p:spPr bwMode="gray">
              <a:xfrm>
                <a:off x="1989157" y="3102338"/>
                <a:ext cx="2096137" cy="514189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pt-PT" sz="900" err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Username</a:t>
                </a: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 and Password to </a:t>
                </a:r>
                <a:r>
                  <a:rPr lang="pt-PT" sz="900" err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acess</a:t>
                </a: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 the Portal Mambu Partner Academy</a:t>
                </a: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C43135A7-AC49-419D-B583-19F8233393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40490" y="3635577"/>
              <a:ext cx="908048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BF2669F-5A97-4D1D-9D47-8BB33AAA61F1}"/>
                </a:ext>
              </a:extLst>
            </p:cNvPr>
            <p:cNvSpPr/>
            <p:nvPr/>
          </p:nvSpPr>
          <p:spPr bwMode="gray">
            <a:xfrm>
              <a:off x="4961298" y="3567113"/>
              <a:ext cx="1479192" cy="139129"/>
            </a:xfrm>
            <a:prstGeom prst="rect">
              <a:avLst/>
            </a:prstGeom>
            <a:noFill/>
            <a:ln w="6350" algn="ctr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pt-PT" sz="1600" b="1">
                <a:solidFill>
                  <a:schemeClr val="bg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6975738-4B20-4FC9-AFE2-43812D042CB4}"/>
                </a:ext>
              </a:extLst>
            </p:cNvPr>
            <p:cNvSpPr/>
            <p:nvPr/>
          </p:nvSpPr>
          <p:spPr bwMode="gray">
            <a:xfrm>
              <a:off x="7348538" y="3359432"/>
              <a:ext cx="2096137" cy="51418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lick on the link to access the Mambu Partner Portal</a:t>
              </a:r>
              <a:endParaRPr lang="pt-PT" sz="9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8147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Learning Path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4504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7. In the displayed menu, in the upper left corner of the page, you must click the </a:t>
            </a:r>
            <a:r>
              <a:rPr lang="en-US" b="1"/>
              <a:t>Catalog</a:t>
            </a:r>
            <a:r>
              <a:rPr lang="en-US"/>
              <a:t> option. After, click </a:t>
            </a:r>
            <a:r>
              <a:rPr lang="en-US" b="1"/>
              <a:t>Learning Paths</a:t>
            </a:r>
            <a:r>
              <a:rPr lang="en-US"/>
              <a:t>.</a:t>
            </a:r>
            <a:endParaRPr lang="pt-PT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9977A66-53A1-4A86-9372-1BFE5D671BDE}"/>
              </a:ext>
            </a:extLst>
          </p:cNvPr>
          <p:cNvGrpSpPr/>
          <p:nvPr/>
        </p:nvGrpSpPr>
        <p:grpSpPr>
          <a:xfrm>
            <a:off x="1110368" y="1815694"/>
            <a:ext cx="9733141" cy="4532477"/>
            <a:chOff x="1072861" y="1855382"/>
            <a:chExt cx="9733141" cy="4532477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AB019855-84F1-4697-B8F1-E16903548446}"/>
                </a:ext>
              </a:extLst>
            </p:cNvPr>
            <p:cNvGrpSpPr/>
            <p:nvPr/>
          </p:nvGrpSpPr>
          <p:grpSpPr>
            <a:xfrm>
              <a:off x="1072861" y="2053200"/>
              <a:ext cx="1854352" cy="1841356"/>
              <a:chOff x="543824" y="2230014"/>
              <a:chExt cx="1854352" cy="1841356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82B59301-4160-495F-9E48-4201C1FA6F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91124" y="2230014"/>
                <a:ext cx="1507052" cy="1268379"/>
              </a:xfrm>
              <a:prstGeom prst="rect">
                <a:avLst/>
              </a:prstGeom>
            </p:spPr>
          </p:pic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BD77F7A-2740-4653-AD6D-54D2B77F5841}"/>
                  </a:ext>
                </a:extLst>
              </p:cNvPr>
              <p:cNvSpPr/>
              <p:nvPr/>
            </p:nvSpPr>
            <p:spPr bwMode="gray">
              <a:xfrm>
                <a:off x="891124" y="2977481"/>
                <a:ext cx="963076" cy="261019"/>
              </a:xfrm>
              <a:prstGeom prst="rect">
                <a:avLst/>
              </a:prstGeom>
              <a:noFill/>
              <a:ln w="6350" algn="ctr">
                <a:solidFill>
                  <a:schemeClr val="bg1">
                    <a:lumMod val="65000"/>
                  </a:schemeClr>
                </a:solidFill>
                <a:prstDash val="dash"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pt-PT" sz="1600" b="1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F76238E3-4BA9-4EF8-8D1E-0880A5795A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97350" y="3238500"/>
                <a:ext cx="0" cy="571851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FC5C2652-EB37-409D-8B50-23652BB380D3}"/>
                  </a:ext>
                </a:extLst>
              </p:cNvPr>
              <p:cNvSpPr/>
              <p:nvPr/>
            </p:nvSpPr>
            <p:spPr bwMode="gray">
              <a:xfrm>
                <a:off x="543824" y="3810351"/>
                <a:ext cx="1507052" cy="261019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1. Click: </a:t>
                </a:r>
                <a:r>
                  <a:rPr lang="pt-PT" sz="900" b="1" err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atalog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53FE357F-8CE9-4B68-BAD4-4C4733C1DE55}"/>
                </a:ext>
              </a:extLst>
            </p:cNvPr>
            <p:cNvGrpSpPr/>
            <p:nvPr/>
          </p:nvGrpSpPr>
          <p:grpSpPr>
            <a:xfrm>
              <a:off x="3123635" y="1855382"/>
              <a:ext cx="7682367" cy="4532477"/>
              <a:chOff x="3295650" y="1744747"/>
              <a:chExt cx="7682367" cy="4532477"/>
            </a:xfrm>
          </p:grpSpPr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F317F494-F628-467B-B491-ABFC96D9B7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295650" y="1948352"/>
                <a:ext cx="7682367" cy="4328872"/>
              </a:xfrm>
              <a:prstGeom prst="rect">
                <a:avLst/>
              </a:prstGeom>
            </p:spPr>
          </p:pic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26788F6-C99C-4814-87A3-067B37A6AAC7}"/>
                  </a:ext>
                </a:extLst>
              </p:cNvPr>
              <p:cNvSpPr/>
              <p:nvPr/>
            </p:nvSpPr>
            <p:spPr bwMode="gray">
              <a:xfrm>
                <a:off x="7751029" y="2161979"/>
                <a:ext cx="392846" cy="136069"/>
              </a:xfrm>
              <a:prstGeom prst="rect">
                <a:avLst/>
              </a:prstGeom>
              <a:noFill/>
              <a:ln w="6350" algn="ctr">
                <a:solidFill>
                  <a:schemeClr val="bg1">
                    <a:lumMod val="65000"/>
                  </a:schemeClr>
                </a:solidFill>
                <a:prstDash val="dash"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pt-PT" sz="1600" b="1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F61B153-105E-40F4-A9C4-97923ADF15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47452" y="1861258"/>
                <a:ext cx="1" cy="300721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4A6CFA6-5E3E-4566-A473-5553069A237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947452" y="1861258"/>
                <a:ext cx="253810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B149194C-93ED-467E-A020-1B8887F60698}"/>
                  </a:ext>
                </a:extLst>
              </p:cNvPr>
              <p:cNvSpPr/>
              <p:nvPr/>
            </p:nvSpPr>
            <p:spPr bwMode="gray">
              <a:xfrm>
                <a:off x="8143875" y="1744747"/>
                <a:ext cx="1972141" cy="160058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2. Click: Learning Path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76948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686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8. In the Learning paths, you will find the 3 modules that make up the Mambu training. You should start with training in Mambu Orientation, Sales Accreditation and Solutions Consultant. To do so, click the </a:t>
            </a:r>
            <a:r>
              <a:rPr lang="en-US" b="1"/>
              <a:t>Enroll</a:t>
            </a:r>
            <a:r>
              <a:rPr lang="en-US"/>
              <a:t> button. </a:t>
            </a:r>
          </a:p>
          <a:p>
            <a:pPr lvl="2" indent="0">
              <a:buNone/>
            </a:pPr>
            <a:r>
              <a:rPr lang="en-US" b="1"/>
              <a:t>More information: </a:t>
            </a:r>
            <a:r>
              <a:rPr lang="en-US"/>
              <a:t>click </a:t>
            </a:r>
            <a:r>
              <a:rPr lang="en-US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3F17AE3-BA7E-446F-9DD2-77F9419133C3}"/>
              </a:ext>
            </a:extLst>
          </p:cNvPr>
          <p:cNvGrpSpPr/>
          <p:nvPr/>
        </p:nvGrpSpPr>
        <p:grpSpPr>
          <a:xfrm>
            <a:off x="2746207" y="2196221"/>
            <a:ext cx="8412931" cy="4424389"/>
            <a:chOff x="2737153" y="2136422"/>
            <a:chExt cx="8412931" cy="442438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F9DCA42-1152-410B-BDCC-97DF9C29AC2D}"/>
                </a:ext>
              </a:extLst>
            </p:cNvPr>
            <p:cNvGrpSpPr/>
            <p:nvPr/>
          </p:nvGrpSpPr>
          <p:grpSpPr>
            <a:xfrm>
              <a:off x="2737153" y="2136422"/>
              <a:ext cx="8412931" cy="4066544"/>
              <a:chOff x="2737153" y="2136422"/>
              <a:chExt cx="8412931" cy="4066544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992E3C3A-43DB-497A-AE59-DC459611B5F3}"/>
                  </a:ext>
                </a:extLst>
              </p:cNvPr>
              <p:cNvGrpSpPr/>
              <p:nvPr/>
            </p:nvGrpSpPr>
            <p:grpSpPr>
              <a:xfrm>
                <a:off x="2737153" y="2136422"/>
                <a:ext cx="8412931" cy="4066544"/>
                <a:chOff x="2744773" y="2144042"/>
                <a:chExt cx="8412931" cy="4066544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36D8BABD-7076-4B64-8273-8FE02B28A2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854289" y="4761543"/>
                  <a:ext cx="253810" cy="0"/>
                </a:xfrm>
                <a:prstGeom prst="line">
                  <a:avLst/>
                </a:prstGeom>
                <a:ln w="6350">
                  <a:solidFill>
                    <a:schemeClr val="bg1">
                      <a:lumMod val="6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A1459C26-B82C-4DCF-8EEF-05DF7CBF7C56}"/>
                    </a:ext>
                  </a:extLst>
                </p:cNvPr>
                <p:cNvSpPr/>
                <p:nvPr/>
              </p:nvSpPr>
              <p:spPr bwMode="gray">
                <a:xfrm>
                  <a:off x="9185563" y="4681514"/>
                  <a:ext cx="1972141" cy="160058"/>
                </a:xfrm>
                <a:prstGeom prst="rect">
                  <a:avLst/>
                </a:prstGeom>
                <a:solidFill>
                  <a:schemeClr val="bg1"/>
                </a:solidFill>
                <a:ln w="19050" algn="ctr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r>
                    <a:rPr lang="pt-PT"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rPr>
                    <a:t>Learning Paths</a:t>
                  </a:r>
                </a:p>
              </p:txBody>
            </p:sp>
            <p:pic>
              <p:nvPicPr>
                <p:cNvPr id="2050" name="Picture 2">
                  <a:extLst>
                    <a:ext uri="{FF2B5EF4-FFF2-40B4-BE49-F238E27FC236}">
                      <a16:creationId xmlns:a16="http://schemas.microsoft.com/office/drawing/2014/main" id="{FFC79C90-D11F-4DB7-919E-C53A6CC0BED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0941" t="15040" r="20395" b="13713"/>
                <a:stretch/>
              </p:blipFill>
              <p:spPr bwMode="auto">
                <a:xfrm>
                  <a:off x="2744773" y="2144042"/>
                  <a:ext cx="6032052" cy="406654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" name="Right Bracket 1">
                  <a:extLst>
                    <a:ext uri="{FF2B5EF4-FFF2-40B4-BE49-F238E27FC236}">
                      <a16:creationId xmlns:a16="http://schemas.microsoft.com/office/drawing/2014/main" id="{90A9B2E2-A12D-4E4D-90DC-845C9823A09D}"/>
                    </a:ext>
                  </a:extLst>
                </p:cNvPr>
                <p:cNvSpPr/>
                <p:nvPr/>
              </p:nvSpPr>
              <p:spPr>
                <a:xfrm>
                  <a:off x="8776825" y="3670300"/>
                  <a:ext cx="77464" cy="2451011"/>
                </a:xfrm>
                <a:prstGeom prst="rightBracket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PT"/>
                </a:p>
              </p:txBody>
            </p:sp>
          </p:grpSp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C775AE03-1B4C-4CFB-AE17-FB830C764D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872413" y="5910265"/>
                <a:ext cx="385764" cy="95248"/>
              </a:xfrm>
              <a:prstGeom prst="rect">
                <a:avLst/>
              </a:prstGeom>
            </p:spPr>
          </p:pic>
        </p:grp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4780593-CCD7-4BA5-8384-700FEE38DC50}"/>
                </a:ext>
              </a:extLst>
            </p:cNvPr>
            <p:cNvCxnSpPr>
              <a:cxnSpLocks/>
            </p:cNvCxnSpPr>
            <p:nvPr/>
          </p:nvCxnSpPr>
          <p:spPr>
            <a:xfrm>
              <a:off x="8101278" y="6005513"/>
              <a:ext cx="0" cy="349567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904C854-31E9-4FA3-A4CD-7F78A08E1328}"/>
                </a:ext>
              </a:extLst>
            </p:cNvPr>
            <p:cNvSpPr/>
            <p:nvPr/>
          </p:nvSpPr>
          <p:spPr bwMode="gray">
            <a:xfrm>
              <a:off x="7546389" y="6355080"/>
              <a:ext cx="1222816" cy="205731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lick: </a:t>
              </a:r>
              <a:r>
                <a:rPr lang="pt-PT" sz="900" b="1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nroll</a:t>
              </a:r>
              <a:endParaRPr lang="pt-PT" sz="9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06548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 – Mambu Orientation 2022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725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9. When to click the first learning path: </a:t>
            </a:r>
            <a:r>
              <a:rPr lang="en-US" b="1"/>
              <a:t>Mambu Orientation 2022</a:t>
            </a:r>
            <a:r>
              <a:rPr lang="en-US"/>
              <a:t>, an overview of the course is presented. By clicking the </a:t>
            </a:r>
            <a:r>
              <a:rPr lang="en-US" b="1"/>
              <a:t>Courses </a:t>
            </a:r>
            <a:r>
              <a:rPr lang="en-US"/>
              <a:t>tab, all the courses that make up the selected learn path are displayed.  </a:t>
            </a:r>
          </a:p>
          <a:p>
            <a:pPr lvl="2" indent="0">
              <a:buNone/>
            </a:pPr>
            <a:r>
              <a:rPr lang="pt-PT"/>
              <a:t>Click the </a:t>
            </a:r>
            <a:r>
              <a:rPr lang="pt-PT" err="1"/>
              <a:t>first</a:t>
            </a:r>
            <a:r>
              <a:rPr lang="pt-PT"/>
              <a:t> </a:t>
            </a:r>
            <a:r>
              <a:rPr lang="pt-PT" err="1"/>
              <a:t>course</a:t>
            </a:r>
            <a:r>
              <a:rPr lang="pt-PT"/>
              <a:t>: </a:t>
            </a:r>
            <a:r>
              <a:rPr lang="pt-PT" b="1" err="1"/>
              <a:t>Welcome</a:t>
            </a:r>
            <a:r>
              <a:rPr lang="pt-PT" b="1"/>
              <a:t> to Mambu </a:t>
            </a:r>
            <a:r>
              <a:rPr lang="pt-PT" b="1" err="1"/>
              <a:t>Orientation</a:t>
            </a:r>
            <a:r>
              <a:rPr lang="pt-PT"/>
              <a:t>.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D94B6E6-9728-4251-8821-27788C31183C}"/>
              </a:ext>
            </a:extLst>
          </p:cNvPr>
          <p:cNvGrpSpPr/>
          <p:nvPr/>
        </p:nvGrpSpPr>
        <p:grpSpPr>
          <a:xfrm>
            <a:off x="800100" y="2307016"/>
            <a:ext cx="11071860" cy="4063558"/>
            <a:chOff x="800100" y="2053519"/>
            <a:chExt cx="11071860" cy="40635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00B96C0-60F2-4DB2-8D66-EECB92C5F60E}"/>
                </a:ext>
              </a:extLst>
            </p:cNvPr>
            <p:cNvGrpSpPr/>
            <p:nvPr/>
          </p:nvGrpSpPr>
          <p:grpSpPr>
            <a:xfrm>
              <a:off x="1937112" y="2315725"/>
              <a:ext cx="9753237" cy="3801352"/>
              <a:chOff x="1937112" y="2114311"/>
              <a:chExt cx="9753237" cy="380135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8B2376A3-A128-4CF3-B7A1-65339456AB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37112" y="2114311"/>
                <a:ext cx="7799912" cy="3801352"/>
              </a:xfrm>
              <a:prstGeom prst="rect">
                <a:avLst/>
              </a:prstGeom>
            </p:spPr>
          </p:pic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613F7C44-DD47-44A9-93D9-1E6B3C4518F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386940" y="4289599"/>
                <a:ext cx="487310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6C572E8-7032-4029-B531-E8696C9D57A9}"/>
                  </a:ext>
                </a:extLst>
              </p:cNvPr>
              <p:cNvSpPr/>
              <p:nvPr/>
            </p:nvSpPr>
            <p:spPr bwMode="gray">
              <a:xfrm>
                <a:off x="9874250" y="3864149"/>
                <a:ext cx="1816099" cy="85090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ourses that make up the learning path. </a:t>
                </a:r>
              </a:p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The courses must be attended in the order presented. 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1" name="Right Bracket 20">
                <a:extLst>
                  <a:ext uri="{FF2B5EF4-FFF2-40B4-BE49-F238E27FC236}">
                    <a16:creationId xmlns:a16="http://schemas.microsoft.com/office/drawing/2014/main" id="{86E95362-E058-4D8E-BF10-EFA103BB9B67}"/>
                  </a:ext>
                </a:extLst>
              </p:cNvPr>
              <p:cNvSpPr/>
              <p:nvPr/>
            </p:nvSpPr>
            <p:spPr>
              <a:xfrm>
                <a:off x="9341221" y="3246222"/>
                <a:ext cx="45719" cy="2316378"/>
              </a:xfrm>
              <a:prstGeom prst="rightBracket">
                <a:avLst/>
              </a:prstGeom>
              <a:ln w="6350">
                <a:solidFill>
                  <a:srgbClr val="BCBCBC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B1A39A80-4989-4E8D-81AC-417BF0824B64}"/>
                </a:ext>
              </a:extLst>
            </p:cNvPr>
            <p:cNvGrpSpPr/>
            <p:nvPr/>
          </p:nvGrpSpPr>
          <p:grpSpPr>
            <a:xfrm>
              <a:off x="5883276" y="2152650"/>
              <a:ext cx="720724" cy="488950"/>
              <a:chOff x="5883276" y="2152650"/>
              <a:chExt cx="720724" cy="488950"/>
            </a:xfrm>
          </p:grpSpPr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29EAF6E4-0C25-4EBC-AEF4-B5394F7083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83276" y="2152650"/>
                <a:ext cx="0" cy="48895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75FF995B-5C0B-4365-9AE3-0051B16A064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883276" y="2152650"/>
                <a:ext cx="720724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6FFCB18-9628-45FB-9588-2FE205E0E42F}"/>
                </a:ext>
              </a:extLst>
            </p:cNvPr>
            <p:cNvSpPr/>
            <p:nvPr/>
          </p:nvSpPr>
          <p:spPr bwMode="gray">
            <a:xfrm>
              <a:off x="6604000" y="2053519"/>
              <a:ext cx="1681437" cy="233256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lick de tab “</a:t>
              </a:r>
              <a:r>
                <a:rPr lang="en-US" sz="9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urses</a:t>
              </a: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”</a:t>
              </a:r>
              <a:endParaRPr lang="pt-PT" sz="9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5A8CE89-5020-4FC4-97C7-F336EA49F5F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48631" y="3588468"/>
              <a:ext cx="564845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5A3FADC-42FF-4E57-832E-E8F363E11D11}"/>
                </a:ext>
              </a:extLst>
            </p:cNvPr>
            <p:cNvSpPr/>
            <p:nvPr/>
          </p:nvSpPr>
          <p:spPr bwMode="gray">
            <a:xfrm>
              <a:off x="9813476" y="3348695"/>
              <a:ext cx="2058484" cy="479546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1</a:t>
              </a:r>
              <a:r>
                <a:rPr lang="en-US" sz="900" baseline="30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t</a:t>
              </a: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course – </a:t>
              </a:r>
              <a:r>
                <a:rPr lang="en-US" sz="9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Welcome to Mambu Orientation</a:t>
              </a:r>
              <a:endParaRPr lang="pt-PT" sz="9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9" name="Right Bracket 38">
              <a:extLst>
                <a:ext uri="{FF2B5EF4-FFF2-40B4-BE49-F238E27FC236}">
                  <a16:creationId xmlns:a16="http://schemas.microsoft.com/office/drawing/2014/main" id="{1A85A3A5-132E-43D4-B9EA-E80B0EC8F897}"/>
                </a:ext>
              </a:extLst>
            </p:cNvPr>
            <p:cNvSpPr/>
            <p:nvPr/>
          </p:nvSpPr>
          <p:spPr>
            <a:xfrm rot="10800000">
              <a:off x="2144130" y="3125947"/>
              <a:ext cx="45719" cy="1207927"/>
            </a:xfrm>
            <a:prstGeom prst="rightBracket">
              <a:avLst/>
            </a:prstGeom>
            <a:ln w="6350">
              <a:solidFill>
                <a:srgbClr val="BCBCB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9D640FCE-8E35-4F36-8173-98DA5F301E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99886" y="3718773"/>
              <a:ext cx="344244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E2920C2-56B7-4B24-A0E2-9AFBDB4EF4E1}"/>
                </a:ext>
              </a:extLst>
            </p:cNvPr>
            <p:cNvSpPr/>
            <p:nvPr/>
          </p:nvSpPr>
          <p:spPr bwMode="gray">
            <a:xfrm>
              <a:off x="800100" y="3539641"/>
              <a:ext cx="993945" cy="380538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etails of the Learning path</a:t>
              </a:r>
              <a:endParaRPr lang="pt-PT" sz="9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0680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 – Mambu Orientation 2022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725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10. When to click the first course </a:t>
            </a:r>
            <a:r>
              <a:rPr lang="en-US" b="1"/>
              <a:t>Welcome to Mambu Orientation</a:t>
            </a:r>
            <a:r>
              <a:rPr lang="en-US"/>
              <a:t> is presented all lessons make up the theme selected. </a:t>
            </a:r>
            <a:r>
              <a:rPr lang="pt-PT"/>
              <a:t>After read all information, </a:t>
            </a:r>
            <a:r>
              <a:rPr lang="en-US"/>
              <a:t>in the upper left corner click the option </a:t>
            </a:r>
            <a:r>
              <a:rPr lang="en-US" b="1"/>
              <a:t>Return to dashboard</a:t>
            </a:r>
            <a:r>
              <a:rPr lang="en-US"/>
              <a:t>. </a:t>
            </a:r>
            <a:endParaRPr lang="pt-PT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9AA3EF9-0F62-452B-A288-ACB9C74D445D}"/>
              </a:ext>
            </a:extLst>
          </p:cNvPr>
          <p:cNvGrpSpPr/>
          <p:nvPr/>
        </p:nvGrpSpPr>
        <p:grpSpPr>
          <a:xfrm>
            <a:off x="1054533" y="2223400"/>
            <a:ext cx="10082933" cy="3874173"/>
            <a:chOff x="461092" y="2314699"/>
            <a:chExt cx="10082933" cy="3874173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FAA360E-F4E3-4C54-917F-423DD6A30FBF}"/>
                </a:ext>
              </a:extLst>
            </p:cNvPr>
            <p:cNvSpPr/>
            <p:nvPr/>
          </p:nvSpPr>
          <p:spPr bwMode="gray">
            <a:xfrm>
              <a:off x="8072933" y="4391628"/>
              <a:ext cx="2471092" cy="155915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Lesson content</a:t>
              </a:r>
              <a:endParaRPr lang="pt-PT" sz="9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2814B8A-423D-4146-BE14-461BB4186AC3}"/>
                </a:ext>
              </a:extLst>
            </p:cNvPr>
            <p:cNvGrpSpPr/>
            <p:nvPr/>
          </p:nvGrpSpPr>
          <p:grpSpPr>
            <a:xfrm>
              <a:off x="461092" y="2314699"/>
              <a:ext cx="7611841" cy="3874173"/>
              <a:chOff x="647869" y="2305646"/>
              <a:chExt cx="7611841" cy="3874173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F77A105F-4E45-4AD3-9861-E2B0200A815E}"/>
                  </a:ext>
                </a:extLst>
              </p:cNvPr>
              <p:cNvGrpSpPr/>
              <p:nvPr/>
            </p:nvGrpSpPr>
            <p:grpSpPr>
              <a:xfrm>
                <a:off x="2883521" y="2305646"/>
                <a:ext cx="4835539" cy="3874173"/>
                <a:chOff x="3934431" y="1827043"/>
                <a:chExt cx="6000144" cy="4689285"/>
              </a:xfrm>
            </p:grpSpPr>
            <p:pic>
              <p:nvPicPr>
                <p:cNvPr id="3" name="Picture 2">
                  <a:extLst>
                    <a:ext uri="{FF2B5EF4-FFF2-40B4-BE49-F238E27FC236}">
                      <a16:creationId xmlns:a16="http://schemas.microsoft.com/office/drawing/2014/main" id="{46554AB2-F819-431F-AEE1-9E27CCF805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6867"/>
                <a:stretch/>
              </p:blipFill>
              <p:spPr>
                <a:xfrm>
                  <a:off x="4543424" y="1827043"/>
                  <a:ext cx="5391151" cy="4689285"/>
                </a:xfrm>
                <a:prstGeom prst="rect">
                  <a:avLst/>
                </a:prstGeom>
              </p:spPr>
            </p:pic>
            <p:pic>
              <p:nvPicPr>
                <p:cNvPr id="7" name="Picture 6">
                  <a:extLst>
                    <a:ext uri="{FF2B5EF4-FFF2-40B4-BE49-F238E27FC236}">
                      <a16:creationId xmlns:a16="http://schemas.microsoft.com/office/drawing/2014/main" id="{75A48BB7-878D-404E-ADB8-1EF8209427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91674"/>
                <a:stretch/>
              </p:blipFill>
              <p:spPr>
                <a:xfrm>
                  <a:off x="3934431" y="1827043"/>
                  <a:ext cx="608993" cy="4689285"/>
                </a:xfrm>
                <a:prstGeom prst="rect">
                  <a:avLst/>
                </a:prstGeom>
              </p:spPr>
            </p:pic>
          </p:grp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CC423D72-295B-4C84-819B-7016DBDC632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772400" y="4460533"/>
                <a:ext cx="487310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ight Bracket 28">
                <a:extLst>
                  <a:ext uri="{FF2B5EF4-FFF2-40B4-BE49-F238E27FC236}">
                    <a16:creationId xmlns:a16="http://schemas.microsoft.com/office/drawing/2014/main" id="{0C07B97A-C4C5-40F1-B7EF-A46B431810F9}"/>
                  </a:ext>
                </a:extLst>
              </p:cNvPr>
              <p:cNvSpPr/>
              <p:nvPr/>
            </p:nvSpPr>
            <p:spPr>
              <a:xfrm>
                <a:off x="7718161" y="2693255"/>
                <a:ext cx="54239" cy="3486561"/>
              </a:xfrm>
              <a:prstGeom prst="rightBracket">
                <a:avLst/>
              </a:prstGeom>
              <a:ln w="6350">
                <a:solidFill>
                  <a:srgbClr val="BCBCBC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BFA3BB5-92A8-4074-8B0F-46014E4B98A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647950" y="2530133"/>
                <a:ext cx="235571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7B31534-A276-42D1-A913-442278EE2118}"/>
                  </a:ext>
                </a:extLst>
              </p:cNvPr>
              <p:cNvSpPr/>
              <p:nvPr/>
            </p:nvSpPr>
            <p:spPr bwMode="gray">
              <a:xfrm>
                <a:off x="647870" y="2442808"/>
                <a:ext cx="2117866" cy="158916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lick: </a:t>
                </a: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Return to dashboard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CD936A6-E0C9-4C07-9711-59A37A3D8BF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765735" y="3146272"/>
                <a:ext cx="730343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7E2C9F37-0D0D-4213-9C4E-620BAFF853F0}"/>
                  </a:ext>
                </a:extLst>
              </p:cNvPr>
              <p:cNvSpPr/>
              <p:nvPr/>
            </p:nvSpPr>
            <p:spPr bwMode="gray">
              <a:xfrm>
                <a:off x="647869" y="2693255"/>
                <a:ext cx="2113885" cy="984534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Note:</a:t>
                </a: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 </a:t>
                </a:r>
              </a:p>
              <a:p>
                <a:pPr marL="171450" indent="-171450">
                  <a:lnSpc>
                    <a:spcPct val="106000"/>
                  </a:lnSpc>
                  <a:buFontTx/>
                  <a:buChar char="-"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After read, all information about lesson, the bar of progress is full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66134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 – Mambu Essentials for Partner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725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11. When to click the button </a:t>
            </a:r>
            <a:r>
              <a:rPr lang="en-US" b="1"/>
              <a:t>Return dashboard</a:t>
            </a:r>
            <a:r>
              <a:rPr lang="en-US"/>
              <a:t> is presented the menu with all courses. Click the course </a:t>
            </a:r>
            <a:r>
              <a:rPr lang="en-US" b="1"/>
              <a:t>Mambu Essentials for Partners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B3DB5A2-A9C7-4D3C-92A2-4A7F95D7A31B}"/>
              </a:ext>
            </a:extLst>
          </p:cNvPr>
          <p:cNvGrpSpPr/>
          <p:nvPr/>
        </p:nvGrpSpPr>
        <p:grpSpPr>
          <a:xfrm>
            <a:off x="203345" y="2223400"/>
            <a:ext cx="11785310" cy="3293207"/>
            <a:chOff x="489155" y="2223400"/>
            <a:chExt cx="11739111" cy="329320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A651D27-6E85-4EAB-9F63-832A2A2C2FCE}"/>
                </a:ext>
              </a:extLst>
            </p:cNvPr>
            <p:cNvGrpSpPr/>
            <p:nvPr/>
          </p:nvGrpSpPr>
          <p:grpSpPr>
            <a:xfrm>
              <a:off x="1607665" y="2223400"/>
              <a:ext cx="10620601" cy="3293207"/>
              <a:chOff x="1002962" y="2789931"/>
              <a:chExt cx="10620601" cy="3293207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8FAA360E-F4E3-4C54-917F-423DD6A30FBF}"/>
                  </a:ext>
                </a:extLst>
              </p:cNvPr>
              <p:cNvSpPr/>
              <p:nvPr/>
            </p:nvSpPr>
            <p:spPr bwMode="gray">
              <a:xfrm>
                <a:off x="7994210" y="4167306"/>
                <a:ext cx="3205978" cy="221147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lick the course: </a:t>
                </a: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Mambu Essentials for Partners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E074B157-7E18-44C1-A118-55D26047FB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02962" y="2789931"/>
                <a:ext cx="6715199" cy="3293207"/>
              </a:xfrm>
              <a:prstGeom prst="rect">
                <a:avLst/>
              </a:prstGeom>
            </p:spPr>
          </p:pic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8D20B5C9-79F4-4353-A349-04BAC8270D5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219452" y="3962974"/>
                <a:ext cx="4774758" cy="14242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CC423D72-295B-4C84-819B-7016DBDC632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380198" y="4234197"/>
                <a:ext cx="614012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DAF5BA2-386E-4940-920B-C4166F3D6E15}"/>
                  </a:ext>
                </a:extLst>
              </p:cNvPr>
              <p:cNvSpPr/>
              <p:nvPr/>
            </p:nvSpPr>
            <p:spPr bwMode="gray">
              <a:xfrm>
                <a:off x="7994210" y="3908905"/>
                <a:ext cx="3629353" cy="13378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De status of the course frequented is updated for </a:t>
                </a: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ompleted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02E4D9E-9D1A-4BC1-8312-219F44685640}"/>
                  </a:ext>
                </a:extLst>
              </p:cNvPr>
              <p:cNvSpPr/>
              <p:nvPr/>
            </p:nvSpPr>
            <p:spPr bwMode="gray">
              <a:xfrm>
                <a:off x="2895106" y="3911168"/>
                <a:ext cx="324344" cy="103615"/>
              </a:xfrm>
              <a:prstGeom prst="rect">
                <a:avLst/>
              </a:prstGeom>
              <a:noFill/>
              <a:ln w="6350" algn="ctr">
                <a:solidFill>
                  <a:schemeClr val="bg1">
                    <a:lumMod val="65000"/>
                  </a:schemeClr>
                </a:solidFill>
                <a:prstDash val="dash"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pt-PT" sz="16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4" name="Right Bracket 23">
              <a:extLst>
                <a:ext uri="{FF2B5EF4-FFF2-40B4-BE49-F238E27FC236}">
                  <a16:creationId xmlns:a16="http://schemas.microsoft.com/office/drawing/2014/main" id="{F54028C5-3F18-4135-9F95-95AB27458F5D}"/>
                </a:ext>
              </a:extLst>
            </p:cNvPr>
            <p:cNvSpPr/>
            <p:nvPr/>
          </p:nvSpPr>
          <p:spPr>
            <a:xfrm rot="10800000">
              <a:off x="1482139" y="2942170"/>
              <a:ext cx="103276" cy="1050710"/>
            </a:xfrm>
            <a:prstGeom prst="rightBracket">
              <a:avLst/>
            </a:prstGeom>
            <a:ln w="6350">
              <a:solidFill>
                <a:srgbClr val="BCBCB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FA3ABA9-2131-49E3-9E61-766F5CB456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09369" y="3413290"/>
              <a:ext cx="172770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F6225AC-5FAD-4182-A8A0-B84B71CF44D7}"/>
                </a:ext>
              </a:extLst>
            </p:cNvPr>
            <p:cNvSpPr/>
            <p:nvPr/>
          </p:nvSpPr>
          <p:spPr bwMode="gray">
            <a:xfrm>
              <a:off x="489155" y="3068539"/>
              <a:ext cx="980486" cy="655807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The details of course is updated</a:t>
              </a:r>
              <a:endParaRPr lang="pt-PT" sz="9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55141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 – Mambu Essentials for Partner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9449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12. When launch the course, click the tab </a:t>
            </a:r>
            <a:r>
              <a:rPr lang="en-US" b="1"/>
              <a:t>Content</a:t>
            </a:r>
            <a:r>
              <a:rPr lang="en-US"/>
              <a:t>. In this view is presented all modules associated course frequented. Click the first module </a:t>
            </a:r>
            <a:r>
              <a:rPr lang="en-US" b="1"/>
              <a:t>Mambu 101: The Essentials. </a:t>
            </a:r>
            <a:endParaRPr lang="en-US"/>
          </a:p>
          <a:p>
            <a:pPr lvl="2" indent="0">
              <a:buNone/>
            </a:pPr>
            <a:r>
              <a:rPr lang="en-US" b="1"/>
              <a:t>Note: </a:t>
            </a:r>
            <a:r>
              <a:rPr lang="en-US"/>
              <a:t>At the end of each module, it is necessary to give feedback on the module, through a short survey. 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F0CD736-2414-4B90-86B2-4C5EA1D3E15F}"/>
              </a:ext>
            </a:extLst>
          </p:cNvPr>
          <p:cNvGrpSpPr/>
          <p:nvPr/>
        </p:nvGrpSpPr>
        <p:grpSpPr>
          <a:xfrm>
            <a:off x="667653" y="2671804"/>
            <a:ext cx="10856695" cy="2295369"/>
            <a:chOff x="632419" y="2671804"/>
            <a:chExt cx="10856695" cy="229536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AB98233-9798-4109-AE71-2B677B90E46B}"/>
                </a:ext>
              </a:extLst>
            </p:cNvPr>
            <p:cNvGrpSpPr/>
            <p:nvPr/>
          </p:nvGrpSpPr>
          <p:grpSpPr>
            <a:xfrm>
              <a:off x="632419" y="2671804"/>
              <a:ext cx="8569343" cy="2295369"/>
              <a:chOff x="1204913" y="2671804"/>
              <a:chExt cx="8569343" cy="2295369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4FF46530-81EE-4042-AA37-B615D77FA8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649180" y="2671804"/>
                <a:ext cx="7125076" cy="2295369"/>
              </a:xfrm>
              <a:prstGeom prst="rect">
                <a:avLst/>
              </a:prstGeom>
            </p:spPr>
          </p:pic>
          <p:sp>
            <p:nvSpPr>
              <p:cNvPr id="21" name="Right Bracket 20">
                <a:extLst>
                  <a:ext uri="{FF2B5EF4-FFF2-40B4-BE49-F238E27FC236}">
                    <a16:creationId xmlns:a16="http://schemas.microsoft.com/office/drawing/2014/main" id="{AA1F835A-2EC1-46D0-808C-76F482CE0AAE}"/>
                  </a:ext>
                </a:extLst>
              </p:cNvPr>
              <p:cNvSpPr/>
              <p:nvPr/>
            </p:nvSpPr>
            <p:spPr>
              <a:xfrm rot="10800000">
                <a:off x="2869194" y="3476623"/>
                <a:ext cx="56032" cy="1166813"/>
              </a:xfrm>
              <a:prstGeom prst="rightBracket">
                <a:avLst/>
              </a:prstGeom>
              <a:ln w="6350">
                <a:solidFill>
                  <a:srgbClr val="BCBCBC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2CE9E75D-F53A-4EA2-8AC1-0F2D14EF5BD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586038" y="3938220"/>
                <a:ext cx="283155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739B608A-E2F7-4DFE-A6A3-E4D48D1AD640}"/>
                  </a:ext>
                </a:extLst>
              </p:cNvPr>
              <p:cNvSpPr/>
              <p:nvPr/>
            </p:nvSpPr>
            <p:spPr bwMode="gray">
              <a:xfrm>
                <a:off x="1204913" y="3610316"/>
                <a:ext cx="1381125" cy="655807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Details of course: Mambu Essentials for Partners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04527F5-1C47-4D3A-810D-14131DBF61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94756" y="3626218"/>
              <a:ext cx="535491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8757CDC-8AC1-44DD-9B35-E38DC05AFDDC}"/>
                </a:ext>
              </a:extLst>
            </p:cNvPr>
            <p:cNvSpPr/>
            <p:nvPr/>
          </p:nvSpPr>
          <p:spPr bwMode="gray">
            <a:xfrm>
              <a:off x="9421775" y="3354473"/>
              <a:ext cx="2067339" cy="511686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lick the module </a:t>
              </a:r>
              <a:r>
                <a:rPr lang="en-US" sz="9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Mambu 101: The Essentials</a:t>
              </a:r>
              <a:endParaRPr lang="pt-PT" sz="9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A3418AD0-B380-4573-886A-ECD2D298837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94757" y="3932017"/>
              <a:ext cx="477843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8F3FDDD-AB47-4DF6-A584-79B24593724B}"/>
                </a:ext>
              </a:extLst>
            </p:cNvPr>
            <p:cNvSpPr/>
            <p:nvPr/>
          </p:nvSpPr>
          <p:spPr bwMode="gray">
            <a:xfrm>
              <a:off x="9421775" y="3881955"/>
              <a:ext cx="2067339" cy="112527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rvey: </a:t>
              </a:r>
              <a:r>
                <a:rPr lang="en-US" sz="9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urse Feedba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45417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 – Mambu Essentials for Partner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9691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13. The module </a:t>
            </a:r>
            <a:r>
              <a:rPr lang="en-US" b="1"/>
              <a:t>Mambu 101: The Essentials </a:t>
            </a:r>
            <a:r>
              <a:rPr lang="en-US"/>
              <a:t>is</a:t>
            </a:r>
            <a:r>
              <a:rPr lang="en-US" b="1"/>
              <a:t> </a:t>
            </a:r>
            <a:r>
              <a:rPr lang="en-US"/>
              <a:t>make up per 7 lessons. Read all lessons with attention per order presented, and in the final of the all lessons click the button </a:t>
            </a:r>
            <a:r>
              <a:rPr lang="en-US" b="1"/>
              <a:t>Save and exit</a:t>
            </a:r>
            <a:r>
              <a:rPr lang="en-US"/>
              <a:t>, to return the previous menu.</a:t>
            </a:r>
          </a:p>
          <a:p>
            <a:pPr lvl="2" indent="0">
              <a:buNone/>
            </a:pPr>
            <a:r>
              <a:rPr lang="en-US" b="1"/>
              <a:t>Note: </a:t>
            </a:r>
            <a:r>
              <a:rPr lang="en-US"/>
              <a:t>At the end of each lesson, it is necessary to answer a short quiz. To complete the session, it is necessary to have at least 75% in the quiz. The quiz can be answered multiple times.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0197E1B-8B55-4E8F-A804-2292938C602E}"/>
              </a:ext>
            </a:extLst>
          </p:cNvPr>
          <p:cNvGrpSpPr/>
          <p:nvPr/>
        </p:nvGrpSpPr>
        <p:grpSpPr>
          <a:xfrm>
            <a:off x="766069" y="2442807"/>
            <a:ext cx="10659863" cy="4012606"/>
            <a:chOff x="766069" y="2442807"/>
            <a:chExt cx="10659863" cy="4012606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113C757-6D1B-4959-AEAA-00B414280502}"/>
                </a:ext>
              </a:extLst>
            </p:cNvPr>
            <p:cNvGrpSpPr/>
            <p:nvPr/>
          </p:nvGrpSpPr>
          <p:grpSpPr>
            <a:xfrm>
              <a:off x="766069" y="2442807"/>
              <a:ext cx="10659863" cy="3782559"/>
              <a:chOff x="1182887" y="2442807"/>
              <a:chExt cx="10659863" cy="3782559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3A026EFA-BBE6-4F95-910F-04B347186F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19234" y="2556987"/>
                <a:ext cx="7153531" cy="3668379"/>
              </a:xfrm>
              <a:prstGeom prst="rect">
                <a:avLst/>
              </a:prstGeom>
            </p:spPr>
          </p:pic>
          <p:sp>
            <p:nvSpPr>
              <p:cNvPr id="18" name="Right Bracket 17">
                <a:extLst>
                  <a:ext uri="{FF2B5EF4-FFF2-40B4-BE49-F238E27FC236}">
                    <a16:creationId xmlns:a16="http://schemas.microsoft.com/office/drawing/2014/main" id="{63D588F7-840A-406A-9853-2F2E17B273E3}"/>
                  </a:ext>
                </a:extLst>
              </p:cNvPr>
              <p:cNvSpPr/>
              <p:nvPr/>
            </p:nvSpPr>
            <p:spPr>
              <a:xfrm rot="10800000">
                <a:off x="2463202" y="3364692"/>
                <a:ext cx="56032" cy="1166813"/>
              </a:xfrm>
              <a:prstGeom prst="rightBracket">
                <a:avLst/>
              </a:prstGeom>
              <a:ln w="6350">
                <a:solidFill>
                  <a:srgbClr val="BCBCBC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7D3CC455-AAE0-45C3-9025-5371763BAC5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180046" y="3948099"/>
                <a:ext cx="283155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1AA61791-2CEA-48F9-8242-E67D273CF946}"/>
                  </a:ext>
                </a:extLst>
              </p:cNvPr>
              <p:cNvSpPr/>
              <p:nvPr/>
            </p:nvSpPr>
            <p:spPr bwMode="gray">
              <a:xfrm>
                <a:off x="1182887" y="3620195"/>
                <a:ext cx="933754" cy="655807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Lessons</a:t>
                </a: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 to make up the module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70A37DA0-9154-48E3-BA57-37FAFF3DC5F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672766" y="2609851"/>
                <a:ext cx="169734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43203453-9967-4F21-9648-4CCECF534D9C}"/>
                  </a:ext>
                </a:extLst>
              </p:cNvPr>
              <p:cNvSpPr/>
              <p:nvPr/>
            </p:nvSpPr>
            <p:spPr bwMode="gray">
              <a:xfrm>
                <a:off x="9842500" y="2442807"/>
                <a:ext cx="2000250" cy="334088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lick: </a:t>
                </a: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Save and exit </a:t>
                </a:r>
              </a:p>
            </p:txBody>
          </p: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08E1B52B-371D-40D5-8513-5213BB73610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808507" y="4345851"/>
                <a:ext cx="134420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5794DB42-6295-486D-929A-7A1F05790008}"/>
                  </a:ext>
                </a:extLst>
              </p:cNvPr>
              <p:cNvSpPr/>
              <p:nvPr/>
            </p:nvSpPr>
            <p:spPr bwMode="gray">
              <a:xfrm>
                <a:off x="9942927" y="4133129"/>
                <a:ext cx="1720181" cy="425443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Lesson content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sp>
          <p:nvSpPr>
            <p:cNvPr id="32" name="Right Bracket 31">
              <a:extLst>
                <a:ext uri="{FF2B5EF4-FFF2-40B4-BE49-F238E27FC236}">
                  <a16:creationId xmlns:a16="http://schemas.microsoft.com/office/drawing/2014/main" id="{0F885BCC-0DBE-44C8-B678-8C8E163A625A}"/>
                </a:ext>
              </a:extLst>
            </p:cNvPr>
            <p:cNvSpPr/>
            <p:nvPr/>
          </p:nvSpPr>
          <p:spPr>
            <a:xfrm>
              <a:off x="9232269" y="2787078"/>
              <a:ext cx="159420" cy="3668335"/>
            </a:xfrm>
            <a:prstGeom prst="rightBracket">
              <a:avLst/>
            </a:prstGeom>
            <a:ln w="6350">
              <a:solidFill>
                <a:srgbClr val="BCBCB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8316589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 – Mambu Essentials for Partner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4"/>
            <a:ext cx="11188700" cy="4360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14. In the content of course, fill out the course feedback survey </a:t>
            </a:r>
            <a:r>
              <a:rPr lang="en-US" b="1"/>
              <a:t>Course Feedback</a:t>
            </a:r>
            <a:r>
              <a:rPr lang="en-US"/>
              <a:t>. And then click </a:t>
            </a:r>
            <a:r>
              <a:rPr lang="en-US" b="1"/>
              <a:t>Next Module</a:t>
            </a:r>
            <a:r>
              <a:rPr lang="en-US"/>
              <a:t>, to frequent all modules.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9217140-405B-42E6-9CCF-E8D3AE739295}"/>
              </a:ext>
            </a:extLst>
          </p:cNvPr>
          <p:cNvGrpSpPr/>
          <p:nvPr/>
        </p:nvGrpSpPr>
        <p:grpSpPr>
          <a:xfrm>
            <a:off x="366328" y="1956774"/>
            <a:ext cx="11459345" cy="3596181"/>
            <a:chOff x="462831" y="1956774"/>
            <a:chExt cx="11459345" cy="3596181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36F3CBA-618B-4FA8-8FFE-A0D2D9EF372F}"/>
                </a:ext>
              </a:extLst>
            </p:cNvPr>
            <p:cNvGrpSpPr/>
            <p:nvPr/>
          </p:nvGrpSpPr>
          <p:grpSpPr>
            <a:xfrm>
              <a:off x="462831" y="1956774"/>
              <a:ext cx="7624497" cy="1616233"/>
              <a:chOff x="462831" y="1956774"/>
              <a:chExt cx="7624497" cy="1616233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2480941F-72D2-4F39-86C2-FB330E62E4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700935" y="1956774"/>
                <a:ext cx="6386393" cy="1616233"/>
              </a:xfrm>
              <a:prstGeom prst="rect">
                <a:avLst/>
              </a:prstGeom>
            </p:spPr>
          </p:pic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0A0B2FFC-B09A-429B-A651-1AF3EBC3B58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614115" y="2654763"/>
                <a:ext cx="1469289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9369011-464D-4451-ACF9-EB09F62019EB}"/>
                  </a:ext>
                </a:extLst>
              </p:cNvPr>
              <p:cNvSpPr/>
              <p:nvPr/>
            </p:nvSpPr>
            <p:spPr bwMode="gray">
              <a:xfrm>
                <a:off x="462831" y="2326859"/>
                <a:ext cx="1151284" cy="655807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After submit the survey, appear a confirmation message 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F0CDDA2-4EB7-45E4-84C2-543D994CA108}"/>
                </a:ext>
              </a:extLst>
            </p:cNvPr>
            <p:cNvGrpSpPr/>
            <p:nvPr/>
          </p:nvGrpSpPr>
          <p:grpSpPr>
            <a:xfrm>
              <a:off x="884402" y="3814294"/>
              <a:ext cx="11037774" cy="1738661"/>
              <a:chOff x="884402" y="3814294"/>
              <a:chExt cx="11037774" cy="1738661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8ACF0A81-F2A6-4090-A3BE-0EE39AEEA9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792001" y="3814294"/>
                <a:ext cx="7108467" cy="1738661"/>
              </a:xfrm>
              <a:prstGeom prst="rect">
                <a:avLst/>
              </a:prstGeom>
            </p:spPr>
          </p:pic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E0B9422D-4D26-4BC1-B325-77BDE81D23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583548" y="5175421"/>
                <a:ext cx="403894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951864A-9410-4933-9B4E-0AC403318954}"/>
                  </a:ext>
                </a:extLst>
              </p:cNvPr>
              <p:cNvSpPr/>
              <p:nvPr/>
            </p:nvSpPr>
            <p:spPr bwMode="gray">
              <a:xfrm>
                <a:off x="884402" y="4847517"/>
                <a:ext cx="1699146" cy="655807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Note:</a:t>
                </a: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 Click the course </a:t>
                </a: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Mambu 101: The Essentials </a:t>
                </a: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to appear the button </a:t>
                </a: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Next Module</a:t>
                </a:r>
              </a:p>
            </p:txBody>
          </p: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6E72B46E-F1D6-4F04-88CC-F4F1744087D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819136" y="4085875"/>
                <a:ext cx="403894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11EF763-3BA0-4F4F-BD52-90CA9E3BBC59}"/>
                  </a:ext>
                </a:extLst>
              </p:cNvPr>
              <p:cNvSpPr/>
              <p:nvPr/>
            </p:nvSpPr>
            <p:spPr bwMode="gray">
              <a:xfrm>
                <a:off x="10223030" y="3814294"/>
                <a:ext cx="1699146" cy="655807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lick: </a:t>
                </a:r>
                <a:r>
                  <a:rPr lang="en-US" sz="900" b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Next Modul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81657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 – Mambu Essentials for Partner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4"/>
            <a:ext cx="11188700" cy="4360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15. To complete the course, it is necessary to download the certificate at the end of each course. </a:t>
            </a:r>
            <a:r>
              <a:rPr lang="en-US" b="0" i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After downloading the certificate. The learning path progress bar will be full. </a:t>
            </a:r>
            <a:r>
              <a:rPr lang="en-US"/>
              <a:t>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E65DE6C-7061-4941-BCB0-410E0FCFEF69}"/>
              </a:ext>
            </a:extLst>
          </p:cNvPr>
          <p:cNvGrpSpPr/>
          <p:nvPr/>
        </p:nvGrpSpPr>
        <p:grpSpPr>
          <a:xfrm>
            <a:off x="755147" y="2053200"/>
            <a:ext cx="10681706" cy="4013084"/>
            <a:chOff x="755147" y="2053200"/>
            <a:chExt cx="10681706" cy="401308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D19A54B5-7447-43C6-AA4B-073EF6935D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1617" r="19148"/>
            <a:stretch/>
          </p:blipFill>
          <p:spPr>
            <a:xfrm>
              <a:off x="7079101" y="3429000"/>
              <a:ext cx="4357752" cy="2637284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1D05013-392C-4AE7-8DA5-5C9467FB76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55147" y="2053200"/>
              <a:ext cx="5014623" cy="2465982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47042AB-E9AC-4145-A916-270104F57D65}"/>
                </a:ext>
              </a:extLst>
            </p:cNvPr>
            <p:cNvCxnSpPr>
              <a:cxnSpLocks/>
            </p:cNvCxnSpPr>
            <p:nvPr/>
          </p:nvCxnSpPr>
          <p:spPr>
            <a:xfrm>
              <a:off x="2326539" y="4423984"/>
              <a:ext cx="0" cy="347193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2694D13-2858-4923-B408-87A36B0CB791}"/>
                </a:ext>
              </a:extLst>
            </p:cNvPr>
            <p:cNvSpPr/>
            <p:nvPr/>
          </p:nvSpPr>
          <p:spPr bwMode="gray">
            <a:xfrm>
              <a:off x="1563312" y="4821289"/>
              <a:ext cx="1699146" cy="655807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lick: </a:t>
              </a:r>
              <a:r>
                <a:rPr lang="en-US" sz="9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mpleting your Mambu Orientations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AA784CC-CA74-4F45-BFA8-5C7D6F35FE6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64680" y="5139644"/>
              <a:ext cx="1258715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74E6B6A-8496-4564-9585-495B9F6206FE}"/>
                </a:ext>
              </a:extLst>
            </p:cNvPr>
            <p:cNvSpPr/>
            <p:nvPr/>
          </p:nvSpPr>
          <p:spPr bwMode="gray">
            <a:xfrm>
              <a:off x="5584114" y="4821289"/>
              <a:ext cx="1323355" cy="655807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lick: </a:t>
              </a:r>
              <a:r>
                <a:rPr lang="en-US" sz="9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ownlo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958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7B049C-9C74-4B9D-9D85-CBAC47C89093}"/>
              </a:ext>
            </a:extLst>
          </p:cNvPr>
          <p:cNvSpPr txBox="1">
            <a:spLocks/>
          </p:cNvSpPr>
          <p:nvPr/>
        </p:nvSpPr>
        <p:spPr>
          <a:xfrm>
            <a:off x="886619" y="3206795"/>
            <a:ext cx="10418763" cy="1592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600"/>
              <a:buFont typeface="Roboto"/>
              <a:buNone/>
              <a:defRPr sz="6600" b="1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r>
              <a:rPr lang="pt-PT"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. Mambu </a:t>
            </a:r>
            <a:r>
              <a:rPr lang="pt-PT" sz="3850" b="1" kern="1200" err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artner</a:t>
            </a:r>
            <a:r>
              <a:rPr lang="pt-PT"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Academy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57A572B2-184F-461D-B4F3-0C5762BF2881}"/>
              </a:ext>
            </a:extLst>
          </p:cNvPr>
          <p:cNvSpPr/>
          <p:nvPr/>
        </p:nvSpPr>
        <p:spPr>
          <a:xfrm>
            <a:off x="0" y="0"/>
            <a:ext cx="12192000" cy="6908800"/>
          </a:xfrm>
          <a:prstGeom prst="frame">
            <a:avLst>
              <a:gd name="adj1" fmla="val 4352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0FD6412-C4E3-4EAC-A45C-379493D94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099" y="6270522"/>
            <a:ext cx="1019302" cy="3461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0E83823-F697-442E-8E2B-2664DCF5C0B3}"/>
              </a:ext>
            </a:extLst>
          </p:cNvPr>
          <p:cNvSpPr txBox="1">
            <a:spLocks/>
          </p:cNvSpPr>
          <p:nvPr/>
        </p:nvSpPr>
        <p:spPr>
          <a:xfrm>
            <a:off x="1000769" y="2116432"/>
            <a:ext cx="7919545" cy="204951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pt-PT" sz="3850" b="1" kern="1200">
              <a:solidFill>
                <a:schemeClr val="bg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4117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 – Sales Accreditation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4"/>
            <a:ext cx="11188700" cy="4360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16. To complete the first learning path (</a:t>
            </a:r>
            <a:r>
              <a:rPr lang="en-US" b="1"/>
              <a:t>Mambu Essentials for Partners), </a:t>
            </a:r>
            <a:r>
              <a:rPr lang="en-US"/>
              <a:t>we proceed to the second learning path (</a:t>
            </a:r>
            <a:r>
              <a:rPr lang="en-US" b="1"/>
              <a:t>Sales Accreditation</a:t>
            </a:r>
            <a:r>
              <a:rPr lang="en-US"/>
              <a:t>). The tasks are the same, namely: attend the classes of each module, which make up the courses of the respective learning path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24C8008-63B9-4C5F-8D9F-9A1A78801F03}"/>
              </a:ext>
            </a:extLst>
          </p:cNvPr>
          <p:cNvGrpSpPr/>
          <p:nvPr/>
        </p:nvGrpSpPr>
        <p:grpSpPr>
          <a:xfrm>
            <a:off x="531552" y="2122026"/>
            <a:ext cx="11128896" cy="3821574"/>
            <a:chOff x="1003300" y="2122026"/>
            <a:chExt cx="11128896" cy="3821574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EC3F994-3A66-4593-8543-74ECDCF556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57438" y="2122026"/>
              <a:ext cx="8491538" cy="3821574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EB1C94F-8D44-4B57-8AB6-F75BCB6FED09}"/>
                </a:ext>
              </a:extLst>
            </p:cNvPr>
            <p:cNvSpPr/>
            <p:nvPr/>
          </p:nvSpPr>
          <p:spPr bwMode="gray">
            <a:xfrm>
              <a:off x="1003300" y="3282505"/>
              <a:ext cx="1165746" cy="655807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etails of Sales Accreditation</a:t>
              </a:r>
              <a:endParaRPr lang="en-US" sz="9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3" name="Right Bracket 22">
              <a:extLst>
                <a:ext uri="{FF2B5EF4-FFF2-40B4-BE49-F238E27FC236}">
                  <a16:creationId xmlns:a16="http://schemas.microsoft.com/office/drawing/2014/main" id="{2C307924-C1A5-4610-BE52-4F6FB4D7FCDD}"/>
                </a:ext>
              </a:extLst>
            </p:cNvPr>
            <p:cNvSpPr/>
            <p:nvPr/>
          </p:nvSpPr>
          <p:spPr>
            <a:xfrm rot="10800000">
              <a:off x="2311719" y="2952211"/>
              <a:ext cx="45719" cy="1316397"/>
            </a:xfrm>
            <a:prstGeom prst="rightBracket">
              <a:avLst/>
            </a:prstGeom>
            <a:ln w="6350">
              <a:solidFill>
                <a:srgbClr val="BCBCB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8CB21DE-92EA-4E21-866A-D0AEA31B27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68270" y="3610409"/>
              <a:ext cx="243448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ight Bracket 26">
              <a:extLst>
                <a:ext uri="{FF2B5EF4-FFF2-40B4-BE49-F238E27FC236}">
                  <a16:creationId xmlns:a16="http://schemas.microsoft.com/office/drawing/2014/main" id="{8615E8F6-0CE3-45B0-B301-4B10B5F57AE0}"/>
                </a:ext>
              </a:extLst>
            </p:cNvPr>
            <p:cNvSpPr/>
            <p:nvPr/>
          </p:nvSpPr>
          <p:spPr>
            <a:xfrm rot="10800000" flipH="1">
              <a:off x="10394635" y="3372992"/>
              <a:ext cx="45719" cy="2241326"/>
            </a:xfrm>
            <a:prstGeom prst="rightBracket">
              <a:avLst/>
            </a:prstGeom>
            <a:ln w="6350">
              <a:solidFill>
                <a:srgbClr val="BCBCB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1EFC754-78ED-4EA7-BBFB-972144079C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37494" y="4366059"/>
              <a:ext cx="528956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38CED3E-E2A7-40EA-A10F-DA6416D85370}"/>
                </a:ext>
              </a:extLst>
            </p:cNvPr>
            <p:cNvSpPr/>
            <p:nvPr/>
          </p:nvSpPr>
          <p:spPr bwMode="gray">
            <a:xfrm>
              <a:off x="10966450" y="4038155"/>
              <a:ext cx="1165746" cy="655807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urses that make up a learning path </a:t>
              </a:r>
              <a:endParaRPr lang="en-US" sz="9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26556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</a:t>
            </a:r>
            <a:r>
              <a:rPr lang="en-US">
                <a:latin typeface="Verdana"/>
              </a:rPr>
              <a:t>Learning Paths – Solutions Consultant Accreditation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</a:t>
            </a:r>
            <a:r>
              <a:rPr lang="pt-PT" err="1"/>
              <a:t>Partner</a:t>
            </a:r>
            <a:r>
              <a:rPr lang="pt-PT"/>
              <a:t>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4"/>
            <a:ext cx="11188700" cy="4360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17. To complete the second learning path </a:t>
            </a:r>
            <a:r>
              <a:rPr lang="en-US" b="1"/>
              <a:t>(Sales Accreditation), </a:t>
            </a:r>
            <a:r>
              <a:rPr lang="en-US"/>
              <a:t>we proceed to the third learning path (</a:t>
            </a:r>
            <a:r>
              <a:rPr lang="en-US" b="1"/>
              <a:t>Solutions Consultant Accreditation</a:t>
            </a:r>
            <a:r>
              <a:rPr lang="en-US"/>
              <a:t>). The tasks are the same, namely: attend the classes of each module, which make up the courses of the respective learning path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D0B8A38-62E9-42DB-AFD7-E18851B919A7}"/>
              </a:ext>
            </a:extLst>
          </p:cNvPr>
          <p:cNvGrpSpPr/>
          <p:nvPr/>
        </p:nvGrpSpPr>
        <p:grpSpPr>
          <a:xfrm>
            <a:off x="936472" y="2215665"/>
            <a:ext cx="10319056" cy="4040211"/>
            <a:chOff x="1263087" y="2081101"/>
            <a:chExt cx="10319056" cy="404021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EB1C94F-8D44-4B57-8AB6-F75BCB6FED09}"/>
                </a:ext>
              </a:extLst>
            </p:cNvPr>
            <p:cNvSpPr/>
            <p:nvPr/>
          </p:nvSpPr>
          <p:spPr bwMode="gray">
            <a:xfrm>
              <a:off x="1263087" y="3182891"/>
              <a:ext cx="1165746" cy="655807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etails of Sales Accreditation</a:t>
              </a:r>
              <a:endParaRPr lang="en-US" sz="9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3" name="Right Bracket 22">
              <a:extLst>
                <a:ext uri="{FF2B5EF4-FFF2-40B4-BE49-F238E27FC236}">
                  <a16:creationId xmlns:a16="http://schemas.microsoft.com/office/drawing/2014/main" id="{2C307924-C1A5-4610-BE52-4F6FB4D7FCDD}"/>
                </a:ext>
              </a:extLst>
            </p:cNvPr>
            <p:cNvSpPr/>
            <p:nvPr/>
          </p:nvSpPr>
          <p:spPr>
            <a:xfrm rot="10800000">
              <a:off x="2672282" y="2852596"/>
              <a:ext cx="45719" cy="1316397"/>
            </a:xfrm>
            <a:prstGeom prst="rightBracket">
              <a:avLst/>
            </a:prstGeom>
            <a:ln w="6350">
              <a:solidFill>
                <a:srgbClr val="BCBCB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8CB21DE-92EA-4E21-866A-D0AEA31B27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28833" y="3510795"/>
              <a:ext cx="243448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F60BC69-BB00-4A8E-9A66-00BE17544CD2}"/>
                </a:ext>
              </a:extLst>
            </p:cNvPr>
            <p:cNvGrpSpPr/>
            <p:nvPr/>
          </p:nvGrpSpPr>
          <p:grpSpPr>
            <a:xfrm>
              <a:off x="9876332" y="3133022"/>
              <a:ext cx="1705811" cy="2727750"/>
              <a:chOff x="10394635" y="3372992"/>
              <a:chExt cx="1705811" cy="2727750"/>
            </a:xfrm>
          </p:grpSpPr>
          <p:sp>
            <p:nvSpPr>
              <p:cNvPr id="27" name="Right Bracket 26">
                <a:extLst>
                  <a:ext uri="{FF2B5EF4-FFF2-40B4-BE49-F238E27FC236}">
                    <a16:creationId xmlns:a16="http://schemas.microsoft.com/office/drawing/2014/main" id="{8615E8F6-0CE3-45B0-B301-4B10B5F57AE0}"/>
                  </a:ext>
                </a:extLst>
              </p:cNvPr>
              <p:cNvSpPr/>
              <p:nvPr/>
            </p:nvSpPr>
            <p:spPr>
              <a:xfrm rot="10800000" flipH="1">
                <a:off x="10394635" y="3372992"/>
                <a:ext cx="45719" cy="2727750"/>
              </a:xfrm>
              <a:prstGeom prst="rightBracket">
                <a:avLst/>
              </a:prstGeom>
              <a:ln w="6350">
                <a:solidFill>
                  <a:srgbClr val="BCBCBC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1EFC754-78ED-4EA7-BBFB-972144079C2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437494" y="4736867"/>
                <a:ext cx="528956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B38CED3E-E2A7-40EA-A10F-DA6416D85370}"/>
                  </a:ext>
                </a:extLst>
              </p:cNvPr>
              <p:cNvSpPr/>
              <p:nvPr/>
            </p:nvSpPr>
            <p:spPr bwMode="gray">
              <a:xfrm>
                <a:off x="10934700" y="4408963"/>
                <a:ext cx="1165746" cy="655807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ourses that make up a learning path </a:t>
                </a:r>
                <a:endParaRPr lang="en-US" sz="900" b="1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064A499-99D6-4647-968B-26E00D494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95142" y="2081101"/>
              <a:ext cx="7181190" cy="40402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56342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165341" y="1347491"/>
            <a:ext cx="11376801" cy="51151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algn="just"/>
            <a:endParaRPr lang="en-US" sz="1400" b="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eful Link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More Mambu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9900" y="1665289"/>
            <a:ext cx="11220449" cy="4716462"/>
          </a:xfrm>
        </p:spPr>
        <p:txBody>
          <a:bodyPr>
            <a:norm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pt-PT" err="1"/>
              <a:t>Sandbox</a:t>
            </a:r>
            <a:r>
              <a:rPr lang="pt-PT"/>
              <a:t>: </a:t>
            </a:r>
            <a:r>
              <a:rPr lang="pt-PT">
                <a:hlinkClick r:id="rId3"/>
              </a:rPr>
              <a:t>https://deloittept.sandbox.mambu.com/</a:t>
            </a: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PT"/>
              <a:t>Mambu </a:t>
            </a:r>
            <a:r>
              <a:rPr lang="pt-PT" err="1"/>
              <a:t>Support</a:t>
            </a:r>
            <a:r>
              <a:rPr lang="pt-PT"/>
              <a:t>: </a:t>
            </a:r>
            <a:r>
              <a:rPr lang="pt-PT">
                <a:hlinkClick r:id="rId4"/>
              </a:rPr>
              <a:t>https://support.mambu.com/docs</a:t>
            </a: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PT" err="1"/>
              <a:t>Temporary</a:t>
            </a:r>
            <a:r>
              <a:rPr lang="pt-PT"/>
              <a:t> Webhook: </a:t>
            </a:r>
            <a:r>
              <a:rPr lang="pt-PT">
                <a:hlinkClick r:id="rId5"/>
              </a:rPr>
              <a:t>https://webhook.site/</a:t>
            </a: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PT" err="1"/>
              <a:t>Sandbox</a:t>
            </a:r>
            <a:r>
              <a:rPr lang="pt-PT"/>
              <a:t> API </a:t>
            </a:r>
            <a:r>
              <a:rPr lang="pt-PT" err="1"/>
              <a:t>Documentation</a:t>
            </a:r>
            <a:r>
              <a:rPr lang="pt-PT"/>
              <a:t>: </a:t>
            </a:r>
            <a:r>
              <a:rPr lang="pt-PT">
                <a:hlinkClick r:id="rId6"/>
              </a:rPr>
              <a:t>https://deloittept.sandbox.mambu.com/apidocs/</a:t>
            </a: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PT"/>
              <a:t>Mambu API </a:t>
            </a:r>
            <a:r>
              <a:rPr lang="pt-PT" err="1"/>
              <a:t>Documentation</a:t>
            </a:r>
            <a:r>
              <a:rPr lang="pt-PT"/>
              <a:t>: </a:t>
            </a:r>
            <a:r>
              <a:rPr lang="pt-PT">
                <a:hlinkClick r:id="rId7"/>
              </a:rPr>
              <a:t>https://api.mambu.com/#welcome</a:t>
            </a: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PT"/>
              <a:t>Mambu Process Orchestrator: </a:t>
            </a:r>
            <a:r>
              <a:rPr lang="pt-PT">
                <a:hlinkClick r:id="rId8"/>
              </a:rPr>
              <a:t>https://mpo-multitenant.mambuonline.com/</a:t>
            </a:r>
            <a:endParaRPr lang="pt-PT"/>
          </a:p>
          <a:p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PT"/>
              <a:t>Mambu </a:t>
            </a:r>
            <a:r>
              <a:rPr lang="pt-PT" err="1"/>
              <a:t>Community</a:t>
            </a:r>
            <a:r>
              <a:rPr lang="pt-PT"/>
              <a:t>: </a:t>
            </a:r>
            <a:r>
              <a:rPr lang="pt-PT">
                <a:hlinkClick r:id="rId9"/>
              </a:rPr>
              <a:t>https://community.mambu.com/</a:t>
            </a: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pt-PT"/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25887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ame 1">
            <a:extLst>
              <a:ext uri="{FF2B5EF4-FFF2-40B4-BE49-F238E27FC236}">
                <a16:creationId xmlns:a16="http://schemas.microsoft.com/office/drawing/2014/main" id="{D9E6F858-2A08-49F6-B75B-6093637E0C72}"/>
              </a:ext>
            </a:extLst>
          </p:cNvPr>
          <p:cNvSpPr/>
          <p:nvPr/>
        </p:nvSpPr>
        <p:spPr>
          <a:xfrm>
            <a:off x="0" y="0"/>
            <a:ext cx="12192000" cy="6908800"/>
          </a:xfrm>
          <a:prstGeom prst="frame">
            <a:avLst>
              <a:gd name="adj1" fmla="val 4352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50C4E-FEBB-4341-9B08-B308CD0CA0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099" y="6270522"/>
            <a:ext cx="1019302" cy="3461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816698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 Overview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Partner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3291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ambu Partner Academy, is the official Mambu accreditation program to ensure we have the skills to successfully: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92FE5BA1-9907-4773-929E-DDE3791B430D}"/>
              </a:ext>
            </a:extLst>
          </p:cNvPr>
          <p:cNvGrpSpPr/>
          <p:nvPr/>
        </p:nvGrpSpPr>
        <p:grpSpPr>
          <a:xfrm>
            <a:off x="1965455" y="1827043"/>
            <a:ext cx="8261091" cy="4046759"/>
            <a:chOff x="2120468" y="1855094"/>
            <a:chExt cx="8261091" cy="4046759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E7676ED3-AF87-4421-8D68-D13198BCFD36}"/>
                </a:ext>
              </a:extLst>
            </p:cNvPr>
            <p:cNvGrpSpPr/>
            <p:nvPr/>
          </p:nvGrpSpPr>
          <p:grpSpPr>
            <a:xfrm>
              <a:off x="6558395" y="3333891"/>
              <a:ext cx="3823162" cy="849600"/>
              <a:chOff x="6857779" y="3513179"/>
              <a:chExt cx="3823162" cy="849600"/>
            </a:xfrm>
          </p:grpSpPr>
          <p:sp>
            <p:nvSpPr>
              <p:cNvPr id="71" name="Rounded Rectangle 63">
                <a:extLst>
                  <a:ext uri="{FF2B5EF4-FFF2-40B4-BE49-F238E27FC236}">
                    <a16:creationId xmlns:a16="http://schemas.microsoft.com/office/drawing/2014/main" id="{BE08B357-44D2-4564-8050-DAFE0E7A25B3}"/>
                  </a:ext>
                </a:extLst>
              </p:cNvPr>
              <p:cNvSpPr/>
              <p:nvPr/>
            </p:nvSpPr>
            <p:spPr>
              <a:xfrm>
                <a:off x="7529746" y="3513179"/>
                <a:ext cx="63384" cy="849600"/>
              </a:xfrm>
              <a:prstGeom prst="round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350"/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3C1FC5EF-750B-4853-9BAB-6DE826F84D80}"/>
                  </a:ext>
                </a:extLst>
              </p:cNvPr>
              <p:cNvSpPr txBox="1"/>
              <p:nvPr/>
            </p:nvSpPr>
            <p:spPr>
              <a:xfrm>
                <a:off x="6857779" y="3792676"/>
                <a:ext cx="554218" cy="400110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>
                <a:defPPr>
                  <a:defRPr lang="en-US"/>
                </a:defPPr>
                <a:lvl1pPr>
                  <a:defRPr sz="2000" b="1"/>
                </a:lvl1pPr>
              </a:lstStyle>
              <a:p>
                <a:pPr algn="r"/>
                <a:r>
                  <a:rPr lang="en-US" noProof="1"/>
                  <a:t>02</a:t>
                </a:r>
              </a:p>
            </p:txBody>
          </p: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1B904B49-4131-4A7E-B574-8206A4E27B0E}"/>
                  </a:ext>
                </a:extLst>
              </p:cNvPr>
              <p:cNvGrpSpPr/>
              <p:nvPr/>
            </p:nvGrpSpPr>
            <p:grpSpPr>
              <a:xfrm>
                <a:off x="7720620" y="3605512"/>
                <a:ext cx="2960321" cy="683871"/>
                <a:chOff x="6974393" y="3058866"/>
                <a:chExt cx="2194560" cy="683871"/>
              </a:xfrm>
            </p:grpSpPr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AEE5A3E7-915D-4CD4-B06F-5F1D052F3686}"/>
                    </a:ext>
                  </a:extLst>
                </p:cNvPr>
                <p:cNvSpPr txBox="1"/>
                <p:nvPr/>
              </p:nvSpPr>
              <p:spPr>
                <a:xfrm>
                  <a:off x="6974393" y="3058866"/>
                  <a:ext cx="2194560" cy="307777"/>
                </a:xfrm>
                <a:prstGeom prst="rect">
                  <a:avLst/>
                </a:prstGeom>
                <a:noFill/>
              </p:spPr>
              <p:txBody>
                <a:bodyPr wrap="square" lIns="0" rIns="0" rtlCol="0" anchor="b">
                  <a:spAutoFit/>
                </a:bodyPr>
                <a:lstStyle/>
                <a:p>
                  <a:r>
                    <a:rPr lang="en-US" sz="1400" b="1" noProof="1"/>
                    <a:t>Sales Accreditation</a:t>
                  </a: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55A274FA-2C89-437B-8885-1B8311993A25}"/>
                    </a:ext>
                  </a:extLst>
                </p:cNvPr>
                <p:cNvSpPr txBox="1"/>
                <p:nvPr/>
              </p:nvSpPr>
              <p:spPr>
                <a:xfrm>
                  <a:off x="6974393" y="3342627"/>
                  <a:ext cx="2194560" cy="400110"/>
                </a:xfrm>
                <a:prstGeom prst="rect">
                  <a:avLst/>
                </a:prstGeom>
                <a:noFill/>
              </p:spPr>
              <p:txBody>
                <a:bodyPr wrap="square" lIns="0" rIns="0" rtlCol="0" anchor="t">
                  <a:spAutoFit/>
                </a:bodyPr>
                <a:lstStyle/>
                <a:p>
                  <a:pPr algn="just"/>
                  <a:r>
                    <a:rPr lang="en-US" sz="1000" noProof="1"/>
                    <a:t>How to sell Mambu. Includes solution-based sales.</a:t>
                  </a:r>
                </a:p>
              </p:txBody>
            </p: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3EBFDE9-B196-439F-AA86-1B183BDED6BF}"/>
                </a:ext>
              </a:extLst>
            </p:cNvPr>
            <p:cNvGrpSpPr/>
            <p:nvPr/>
          </p:nvGrpSpPr>
          <p:grpSpPr>
            <a:xfrm>
              <a:off x="6580130" y="4251441"/>
              <a:ext cx="3801426" cy="1053200"/>
              <a:chOff x="6879514" y="4913763"/>
              <a:chExt cx="3801426" cy="1053200"/>
            </a:xfrm>
          </p:grpSpPr>
          <p:sp>
            <p:nvSpPr>
              <p:cNvPr id="72" name="Rounded Rectangle 64">
                <a:extLst>
                  <a:ext uri="{FF2B5EF4-FFF2-40B4-BE49-F238E27FC236}">
                    <a16:creationId xmlns:a16="http://schemas.microsoft.com/office/drawing/2014/main" id="{44C0C94E-072C-48AD-9B7B-DA49B15F0A01}"/>
                  </a:ext>
                </a:extLst>
              </p:cNvPr>
              <p:cNvSpPr/>
              <p:nvPr/>
            </p:nvSpPr>
            <p:spPr>
              <a:xfrm>
                <a:off x="7527891" y="4972891"/>
                <a:ext cx="63384" cy="849600"/>
              </a:xfrm>
              <a:prstGeom prst="round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350"/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9B32BC71-15DA-46E2-A1BC-926B34AB94EC}"/>
                  </a:ext>
                </a:extLst>
              </p:cNvPr>
              <p:cNvSpPr txBox="1"/>
              <p:nvPr/>
            </p:nvSpPr>
            <p:spPr>
              <a:xfrm>
                <a:off x="6879514" y="5212910"/>
                <a:ext cx="554218" cy="400110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>
                <a:defPPr>
                  <a:defRPr lang="en-US"/>
                </a:defPPr>
                <a:lvl1pPr algn="r">
                  <a:defRPr sz="2000" b="1"/>
                </a:lvl1pPr>
              </a:lstStyle>
              <a:p>
                <a:r>
                  <a:rPr lang="en-US" noProof="1"/>
                  <a:t>03</a:t>
                </a: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664480EE-3974-4664-80C6-DA9E49A0F7E6}"/>
                  </a:ext>
                </a:extLst>
              </p:cNvPr>
              <p:cNvGrpSpPr/>
              <p:nvPr/>
            </p:nvGrpSpPr>
            <p:grpSpPr>
              <a:xfrm>
                <a:off x="7712365" y="4913763"/>
                <a:ext cx="2968575" cy="1053200"/>
                <a:chOff x="6691483" y="4498588"/>
                <a:chExt cx="2194560" cy="1053200"/>
              </a:xfrm>
            </p:grpSpPr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B40AB650-2672-49BF-97AE-751B8E49F7C9}"/>
                    </a:ext>
                  </a:extLst>
                </p:cNvPr>
                <p:cNvSpPr txBox="1"/>
                <p:nvPr/>
              </p:nvSpPr>
              <p:spPr>
                <a:xfrm>
                  <a:off x="6691483" y="4498588"/>
                  <a:ext cx="2194560" cy="523220"/>
                </a:xfrm>
                <a:prstGeom prst="rect">
                  <a:avLst/>
                </a:prstGeom>
                <a:noFill/>
              </p:spPr>
              <p:txBody>
                <a:bodyPr wrap="square" lIns="0" rIns="0" rtlCol="0" anchor="b">
                  <a:spAutoFit/>
                </a:bodyPr>
                <a:lstStyle/>
                <a:p>
                  <a:r>
                    <a:rPr lang="en-US" sz="1400" b="1" noProof="1"/>
                    <a:t>Solutions Consultant Accreditation</a:t>
                  </a:r>
                </a:p>
              </p:txBody>
            </p:sp>
            <p:sp>
              <p:nvSpPr>
                <p:cNvPr id="90" name="TextBox 89">
                  <a:extLst>
                    <a:ext uri="{FF2B5EF4-FFF2-40B4-BE49-F238E27FC236}">
                      <a16:creationId xmlns:a16="http://schemas.microsoft.com/office/drawing/2014/main" id="{B8833825-4A3E-4CA8-8A69-AA53E58CCA03}"/>
                    </a:ext>
                  </a:extLst>
                </p:cNvPr>
                <p:cNvSpPr txBox="1"/>
                <p:nvPr/>
              </p:nvSpPr>
              <p:spPr>
                <a:xfrm>
                  <a:off x="6691483" y="4997790"/>
                  <a:ext cx="2194560" cy="553998"/>
                </a:xfrm>
                <a:prstGeom prst="rect">
                  <a:avLst/>
                </a:prstGeom>
                <a:noFill/>
              </p:spPr>
              <p:txBody>
                <a:bodyPr wrap="square" lIns="0" rIns="0" rtlCol="0" anchor="t">
                  <a:spAutoFit/>
                </a:bodyPr>
                <a:lstStyle/>
                <a:p>
                  <a:pPr algn="just"/>
                  <a:r>
                    <a:rPr lang="en-US" sz="1000" noProof="1"/>
                    <a:t>How to have a technical architecture discussion with a customer.</a:t>
                  </a:r>
                </a:p>
              </p:txBody>
            </p:sp>
          </p:grp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CC3D74A1-8F85-4E30-BCB6-F0F2A5ED020E}"/>
                </a:ext>
              </a:extLst>
            </p:cNvPr>
            <p:cNvGrpSpPr/>
            <p:nvPr/>
          </p:nvGrpSpPr>
          <p:grpSpPr>
            <a:xfrm>
              <a:off x="6613903" y="2416790"/>
              <a:ext cx="3767656" cy="849152"/>
              <a:chOff x="6913286" y="2281766"/>
              <a:chExt cx="3767656" cy="849152"/>
            </a:xfrm>
          </p:grpSpPr>
          <p:sp>
            <p:nvSpPr>
              <p:cNvPr id="70" name="Rounded Rectangle 62">
                <a:extLst>
                  <a:ext uri="{FF2B5EF4-FFF2-40B4-BE49-F238E27FC236}">
                    <a16:creationId xmlns:a16="http://schemas.microsoft.com/office/drawing/2014/main" id="{D3B8067B-0227-4919-AC6E-87A896B6FE6D}"/>
                  </a:ext>
                </a:extLst>
              </p:cNvPr>
              <p:cNvSpPr/>
              <p:nvPr/>
            </p:nvSpPr>
            <p:spPr>
              <a:xfrm>
                <a:off x="7530815" y="2281766"/>
                <a:ext cx="63384" cy="849152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350"/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1D6A67A1-D4A5-4FEB-8E50-62A2B541958F}"/>
                  </a:ext>
                </a:extLst>
              </p:cNvPr>
              <p:cNvSpPr txBox="1"/>
              <p:nvPr/>
            </p:nvSpPr>
            <p:spPr>
              <a:xfrm>
                <a:off x="6913286" y="2488586"/>
                <a:ext cx="554218" cy="400110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>
                <a:defPPr>
                  <a:defRPr lang="en-US"/>
                </a:defPPr>
                <a:lvl1pPr algn="r">
                  <a:defRPr sz="2000" b="1"/>
                </a:lvl1pPr>
              </a:lstStyle>
              <a:p>
                <a:r>
                  <a:rPr lang="en-US" noProof="1"/>
                  <a:t>01</a:t>
                </a:r>
              </a:p>
            </p:txBody>
          </p: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DA4F955C-B2B1-494C-AC44-384DB6E89C84}"/>
                  </a:ext>
                </a:extLst>
              </p:cNvPr>
              <p:cNvGrpSpPr/>
              <p:nvPr/>
            </p:nvGrpSpPr>
            <p:grpSpPr>
              <a:xfrm>
                <a:off x="7712366" y="2293159"/>
                <a:ext cx="2968576" cy="683871"/>
                <a:chOff x="6697329" y="1557590"/>
                <a:chExt cx="2194560" cy="683871"/>
              </a:xfrm>
            </p:grpSpPr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9C33B9E2-8C27-40E1-83EA-28812B6ACE24}"/>
                    </a:ext>
                  </a:extLst>
                </p:cNvPr>
                <p:cNvSpPr txBox="1"/>
                <p:nvPr/>
              </p:nvSpPr>
              <p:spPr>
                <a:xfrm>
                  <a:off x="6697329" y="1557590"/>
                  <a:ext cx="2194560" cy="307777"/>
                </a:xfrm>
                <a:prstGeom prst="rect">
                  <a:avLst/>
                </a:prstGeom>
                <a:noFill/>
              </p:spPr>
              <p:txBody>
                <a:bodyPr wrap="square" lIns="0" rIns="0" rtlCol="0" anchor="b">
                  <a:spAutoFit/>
                </a:bodyPr>
                <a:lstStyle/>
                <a:p>
                  <a:r>
                    <a:rPr lang="en-US" sz="1400" b="1" noProof="1"/>
                    <a:t>Mambu Orientation</a:t>
                  </a:r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78544FB2-F6D5-48AA-BEDB-900A44A31E87}"/>
                    </a:ext>
                  </a:extLst>
                </p:cNvPr>
                <p:cNvSpPr txBox="1"/>
                <p:nvPr/>
              </p:nvSpPr>
              <p:spPr>
                <a:xfrm>
                  <a:off x="6697329" y="1841351"/>
                  <a:ext cx="2194560" cy="400110"/>
                </a:xfrm>
                <a:prstGeom prst="rect">
                  <a:avLst/>
                </a:prstGeom>
                <a:noFill/>
              </p:spPr>
              <p:txBody>
                <a:bodyPr wrap="square" lIns="0" rIns="0" rtlCol="0" anchor="t">
                  <a:spAutoFit/>
                </a:bodyPr>
                <a:lstStyle/>
                <a:p>
                  <a:pPr algn="just"/>
                  <a:r>
                    <a:rPr lang="en-US" sz="1000" noProof="1"/>
                    <a:t>Prerequisite to all modules. A foundational understanding of Mambu.</a:t>
                  </a:r>
                </a:p>
              </p:txBody>
            </p:sp>
          </p:grp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B4996663-16C3-4D2E-8B8E-CDAAD2BECC9A}"/>
                </a:ext>
              </a:extLst>
            </p:cNvPr>
            <p:cNvGrpSpPr/>
            <p:nvPr/>
          </p:nvGrpSpPr>
          <p:grpSpPr>
            <a:xfrm>
              <a:off x="2120468" y="1855094"/>
              <a:ext cx="3845747" cy="4046759"/>
              <a:chOff x="2039007" y="1617388"/>
              <a:chExt cx="3845747" cy="4046759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7DAE344C-00F7-4E3C-9046-964FFCA96C2B}"/>
                  </a:ext>
                </a:extLst>
              </p:cNvPr>
              <p:cNvGrpSpPr/>
              <p:nvPr/>
            </p:nvGrpSpPr>
            <p:grpSpPr>
              <a:xfrm>
                <a:off x="2039007" y="1885884"/>
                <a:ext cx="3845747" cy="3778263"/>
                <a:chOff x="2066166" y="1827043"/>
                <a:chExt cx="4375156" cy="4359237"/>
              </a:xfrm>
            </p:grpSpPr>
            <p:sp>
              <p:nvSpPr>
                <p:cNvPr id="73" name="Shape">
                  <a:extLst>
                    <a:ext uri="{FF2B5EF4-FFF2-40B4-BE49-F238E27FC236}">
                      <a16:creationId xmlns:a16="http://schemas.microsoft.com/office/drawing/2014/main" id="{B16A0F98-CF0C-459B-B3BE-41BC6F33BAE1}"/>
                    </a:ext>
                  </a:extLst>
                </p:cNvPr>
                <p:cNvSpPr/>
                <p:nvPr/>
              </p:nvSpPr>
              <p:spPr>
                <a:xfrm>
                  <a:off x="2066166" y="2165328"/>
                  <a:ext cx="3334930" cy="307276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0267" y="19123"/>
                      </a:moveTo>
                      <a:lnTo>
                        <a:pt x="8034" y="19123"/>
                      </a:lnTo>
                      <a:lnTo>
                        <a:pt x="5405" y="19123"/>
                      </a:lnTo>
                      <a:lnTo>
                        <a:pt x="3944" y="19123"/>
                      </a:lnTo>
                      <a:lnTo>
                        <a:pt x="12799" y="2477"/>
                      </a:lnTo>
                      <a:lnTo>
                        <a:pt x="11485" y="0"/>
                      </a:lnTo>
                      <a:lnTo>
                        <a:pt x="0" y="21600"/>
                      </a:lnTo>
                      <a:lnTo>
                        <a:pt x="4072" y="21600"/>
                      </a:lnTo>
                      <a:lnTo>
                        <a:pt x="6719" y="21600"/>
                      </a:ln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12700">
                  <a:miter lim="400000"/>
                </a:ln>
              </p:spPr>
              <p:txBody>
                <a:bodyPr lIns="28575" tIns="28575" rIns="28575" bIns="28575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2250"/>
                </a:p>
              </p:txBody>
            </p:sp>
            <p:sp>
              <p:nvSpPr>
                <p:cNvPr id="74" name="Shape">
                  <a:extLst>
                    <a:ext uri="{FF2B5EF4-FFF2-40B4-BE49-F238E27FC236}">
                      <a16:creationId xmlns:a16="http://schemas.microsoft.com/office/drawing/2014/main" id="{A012C93E-E06C-46DF-BCE4-1D99147357CB}"/>
                    </a:ext>
                  </a:extLst>
                </p:cNvPr>
                <p:cNvSpPr/>
                <p:nvPr/>
              </p:nvSpPr>
              <p:spPr>
                <a:xfrm>
                  <a:off x="2799118" y="2926471"/>
                  <a:ext cx="3535083" cy="285287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9722" y="17545"/>
                      </a:moveTo>
                      <a:lnTo>
                        <a:pt x="18482" y="14877"/>
                      </a:lnTo>
                      <a:lnTo>
                        <a:pt x="11420" y="0"/>
                      </a:lnTo>
                      <a:lnTo>
                        <a:pt x="10180" y="2668"/>
                      </a:lnTo>
                      <a:lnTo>
                        <a:pt x="15985" y="14877"/>
                      </a:lnTo>
                      <a:lnTo>
                        <a:pt x="17225" y="17545"/>
                      </a:lnTo>
                      <a:lnTo>
                        <a:pt x="17879" y="18932"/>
                      </a:lnTo>
                      <a:lnTo>
                        <a:pt x="1240" y="18932"/>
                      </a:lnTo>
                      <a:lnTo>
                        <a:pt x="0" y="21600"/>
                      </a:ln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12700">
                  <a:miter lim="400000"/>
                </a:ln>
              </p:spPr>
              <p:txBody>
                <a:bodyPr lIns="28575" tIns="28575" rIns="28575" bIns="28575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2250"/>
                </a:p>
              </p:txBody>
            </p:sp>
            <p:sp>
              <p:nvSpPr>
                <p:cNvPr id="75" name="Shape">
                  <a:extLst>
                    <a:ext uri="{FF2B5EF4-FFF2-40B4-BE49-F238E27FC236}">
                      <a16:creationId xmlns:a16="http://schemas.microsoft.com/office/drawing/2014/main" id="{ACEB14B7-EF36-47BE-838D-DA322490B368}"/>
                    </a:ext>
                  </a:extLst>
                </p:cNvPr>
                <p:cNvSpPr/>
                <p:nvPr/>
              </p:nvSpPr>
              <p:spPr>
                <a:xfrm>
                  <a:off x="2996451" y="1827043"/>
                  <a:ext cx="3444871" cy="306712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500" y="0"/>
                      </a:moveTo>
                      <a:lnTo>
                        <a:pt x="8537" y="3812"/>
                      </a:lnTo>
                      <a:lnTo>
                        <a:pt x="7265" y="6293"/>
                      </a:lnTo>
                      <a:lnTo>
                        <a:pt x="0" y="20528"/>
                      </a:lnTo>
                      <a:lnTo>
                        <a:pt x="2563" y="20528"/>
                      </a:lnTo>
                      <a:lnTo>
                        <a:pt x="8537" y="8775"/>
                      </a:lnTo>
                      <a:lnTo>
                        <a:pt x="9810" y="6293"/>
                      </a:lnTo>
                      <a:lnTo>
                        <a:pt x="10500" y="4963"/>
                      </a:lnTo>
                      <a:lnTo>
                        <a:pt x="19055" y="21600"/>
                      </a:ln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12700">
                  <a:miter lim="400000"/>
                </a:ln>
              </p:spPr>
              <p:txBody>
                <a:bodyPr lIns="28575" tIns="28575" rIns="28575" bIns="28575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2250"/>
                </a:p>
              </p:txBody>
            </p:sp>
            <p:sp>
              <p:nvSpPr>
                <p:cNvPr id="76" name="TextBox 66">
                  <a:extLst>
                    <a:ext uri="{FF2B5EF4-FFF2-40B4-BE49-F238E27FC236}">
                      <a16:creationId xmlns:a16="http://schemas.microsoft.com/office/drawing/2014/main" id="{76338922-4DA2-4F8A-8114-8EBE7D90B6E6}"/>
                    </a:ext>
                  </a:extLst>
                </p:cNvPr>
                <p:cNvSpPr txBox="1"/>
                <p:nvPr/>
              </p:nvSpPr>
              <p:spPr>
                <a:xfrm rot="3581915">
                  <a:off x="4495040" y="3200177"/>
                  <a:ext cx="2961068" cy="400110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2000" b="1">
                      <a:solidFill>
                        <a:schemeClr val="accent5">
                          <a:lumMod val="75000"/>
                        </a:schemeClr>
                      </a:solidFill>
                    </a:rPr>
                    <a:t>Mambu Orientation</a:t>
                  </a:r>
                </a:p>
              </p:txBody>
            </p:sp>
            <p:sp>
              <p:nvSpPr>
                <p:cNvPr id="77" name="TextBox 67">
                  <a:extLst>
                    <a:ext uri="{FF2B5EF4-FFF2-40B4-BE49-F238E27FC236}">
                      <a16:creationId xmlns:a16="http://schemas.microsoft.com/office/drawing/2014/main" id="{6A05BAEA-793E-4506-9D37-4CD792A2D1BA}"/>
                    </a:ext>
                  </a:extLst>
                </p:cNvPr>
                <p:cNvSpPr txBox="1"/>
                <p:nvPr/>
              </p:nvSpPr>
              <p:spPr>
                <a:xfrm>
                  <a:off x="3088534" y="5786170"/>
                  <a:ext cx="2956259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2000" b="1">
                      <a:solidFill>
                        <a:schemeClr val="accent6">
                          <a:lumMod val="75000"/>
                        </a:schemeClr>
                      </a:solidFill>
                    </a:rPr>
                    <a:t>Sales Accreditation</a:t>
                  </a:r>
                </a:p>
              </p:txBody>
            </p:sp>
            <p:sp>
              <p:nvSpPr>
                <p:cNvPr id="78" name="TextBox 2">
                  <a:extLst>
                    <a:ext uri="{FF2B5EF4-FFF2-40B4-BE49-F238E27FC236}">
                      <a16:creationId xmlns:a16="http://schemas.microsoft.com/office/drawing/2014/main" id="{ECA9123C-35C6-465C-983E-8F15EF052D7D}"/>
                    </a:ext>
                  </a:extLst>
                </p:cNvPr>
                <p:cNvSpPr txBox="1"/>
                <p:nvPr/>
              </p:nvSpPr>
              <p:spPr>
                <a:xfrm>
                  <a:off x="4475303" y="2123882"/>
                  <a:ext cx="393057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1600" b="1">
                      <a:solidFill>
                        <a:schemeClr val="bg1"/>
                      </a:solidFill>
                    </a:rPr>
                    <a:t>01</a:t>
                  </a:r>
                </a:p>
              </p:txBody>
            </p:sp>
            <p:sp>
              <p:nvSpPr>
                <p:cNvPr id="79" name="TextBox 68">
                  <a:extLst>
                    <a:ext uri="{FF2B5EF4-FFF2-40B4-BE49-F238E27FC236}">
                      <a16:creationId xmlns:a16="http://schemas.microsoft.com/office/drawing/2014/main" id="{05BC3067-C9AA-43E2-8735-06C234DA86C9}"/>
                    </a:ext>
                  </a:extLst>
                </p:cNvPr>
                <p:cNvSpPr txBox="1"/>
                <p:nvPr/>
              </p:nvSpPr>
              <p:spPr>
                <a:xfrm>
                  <a:off x="5667345" y="5356948"/>
                  <a:ext cx="541995" cy="390613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1600" b="1">
                      <a:solidFill>
                        <a:schemeClr val="bg1"/>
                      </a:solidFill>
                    </a:rPr>
                    <a:t>02</a:t>
                  </a:r>
                </a:p>
              </p:txBody>
            </p:sp>
            <p:sp>
              <p:nvSpPr>
                <p:cNvPr id="80" name="TextBox 69">
                  <a:extLst>
                    <a:ext uri="{FF2B5EF4-FFF2-40B4-BE49-F238E27FC236}">
                      <a16:creationId xmlns:a16="http://schemas.microsoft.com/office/drawing/2014/main" id="{1334982B-3795-4D6F-BDD8-440650927AF1}"/>
                    </a:ext>
                  </a:extLst>
                </p:cNvPr>
                <p:cNvSpPr txBox="1"/>
                <p:nvPr/>
              </p:nvSpPr>
              <p:spPr>
                <a:xfrm>
                  <a:off x="2188181" y="4801541"/>
                  <a:ext cx="541995" cy="390613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1600" b="1">
                      <a:solidFill>
                        <a:schemeClr val="bg1"/>
                      </a:solidFill>
                    </a:rPr>
                    <a:t>03</a:t>
                  </a:r>
                </a:p>
              </p:txBody>
            </p:sp>
          </p:grpSp>
          <p:sp>
            <p:nvSpPr>
              <p:cNvPr id="96" name="TextBox 66">
                <a:extLst>
                  <a:ext uri="{FF2B5EF4-FFF2-40B4-BE49-F238E27FC236}">
                    <a16:creationId xmlns:a16="http://schemas.microsoft.com/office/drawing/2014/main" id="{B3B89CE5-58E6-4012-87FE-221B6394503B}"/>
                  </a:ext>
                </a:extLst>
              </p:cNvPr>
              <p:cNvSpPr txBox="1"/>
              <p:nvPr/>
            </p:nvSpPr>
            <p:spPr>
              <a:xfrm rot="17987860">
                <a:off x="801574" y="2895463"/>
                <a:ext cx="3264035" cy="707886"/>
              </a:xfrm>
              <a:prstGeom prst="rect">
                <a:avLst/>
              </a:prstGeom>
              <a:noFill/>
            </p:spPr>
            <p:txBody>
              <a:bodyPr wrap="none" rtlCol="0" anchor="b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000" b="1" noProof="1">
                    <a:solidFill>
                      <a:srgbClr val="00A3E0"/>
                    </a:solidFill>
                  </a:rPr>
                  <a:t>Solutions Consultant </a:t>
                </a:r>
              </a:p>
              <a:p>
                <a:r>
                  <a:rPr lang="en-US" sz="2000" b="1" noProof="1">
                    <a:solidFill>
                      <a:srgbClr val="00A3E0"/>
                    </a:solidFill>
                  </a:rPr>
                  <a:t>Accredit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6446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 Overview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Partner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4"/>
            <a:ext cx="11188700" cy="240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/>
              <a:t>The accreditations enabling the user to understand Mambu, as well as being able to pitch Mambu to a customer.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BC43E7F-25BE-491A-9A72-653E17E7DD75}"/>
              </a:ext>
            </a:extLst>
          </p:cNvPr>
          <p:cNvGrpSpPr/>
          <p:nvPr/>
        </p:nvGrpSpPr>
        <p:grpSpPr>
          <a:xfrm>
            <a:off x="699932" y="2019929"/>
            <a:ext cx="10792137" cy="3729774"/>
            <a:chOff x="609288" y="2019929"/>
            <a:chExt cx="10792137" cy="372977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21F9C54-392E-428F-930A-314F183C387A}"/>
                </a:ext>
              </a:extLst>
            </p:cNvPr>
            <p:cNvGrpSpPr/>
            <p:nvPr/>
          </p:nvGrpSpPr>
          <p:grpSpPr>
            <a:xfrm>
              <a:off x="609288" y="2053200"/>
              <a:ext cx="3463451" cy="3696503"/>
              <a:chOff x="1634319" y="2053200"/>
              <a:chExt cx="3463451" cy="3696503"/>
            </a:xfrm>
          </p:grpSpPr>
          <p:sp>
            <p:nvSpPr>
              <p:cNvPr id="47" name="Right Triangle 46">
                <a:extLst>
                  <a:ext uri="{FF2B5EF4-FFF2-40B4-BE49-F238E27FC236}">
                    <a16:creationId xmlns:a16="http://schemas.microsoft.com/office/drawing/2014/main" id="{D342A894-1F25-40DF-BDF2-E1F774FE55DD}"/>
                  </a:ext>
                </a:extLst>
              </p:cNvPr>
              <p:cNvSpPr/>
              <p:nvPr/>
            </p:nvSpPr>
            <p:spPr>
              <a:xfrm flipH="1" flipV="1">
                <a:off x="1634319" y="2607491"/>
                <a:ext cx="306653" cy="228599"/>
              </a:xfrm>
              <a:prstGeom prst="rtTriangle">
                <a:avLst/>
              </a:prstGeom>
              <a:solidFill>
                <a:srgbClr val="005A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350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35676C20-4CA7-4B55-B846-C0251D709E8A}"/>
                  </a:ext>
                </a:extLst>
              </p:cNvPr>
              <p:cNvSpPr/>
              <p:nvPr/>
            </p:nvSpPr>
            <p:spPr>
              <a:xfrm>
                <a:off x="1940972" y="2441126"/>
                <a:ext cx="2836800" cy="3308577"/>
              </a:xfrm>
              <a:prstGeom prst="rect">
                <a:avLst/>
              </a:prstGeom>
              <a:solidFill>
                <a:schemeClr val="bg1"/>
              </a:solidFill>
              <a:ln w="571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37160" tIns="342900" rIns="137160" bIns="685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ts val="1100"/>
                  </a:lnSpc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Prerequisits to all tracks. A foundational understanding of Mambu.</a:t>
                </a:r>
              </a:p>
              <a:p>
                <a:pPr>
                  <a:lnSpc>
                    <a:spcPts val="2000"/>
                  </a:lnSpc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Includes: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Mambu Essentials for Partners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Basic Terminology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Introduction to Mambu Infrastructure and Deployment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Introduction to Mambu Marketplace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Introduction to the Mambu Process Orchestrator.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  <a:p>
                <a:pPr>
                  <a:lnSpc>
                    <a:spcPts val="1200"/>
                  </a:lnSpc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Note: Learning Path: 105 minutes (1h 45)</a:t>
                </a:r>
              </a:p>
              <a:p>
                <a:pPr>
                  <a:spcBef>
                    <a:spcPts val="1350"/>
                  </a:spcBef>
                </a:pPr>
                <a:endParaRPr lang="en-US" sz="105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55" name="Right Triangle 54">
                <a:extLst>
                  <a:ext uri="{FF2B5EF4-FFF2-40B4-BE49-F238E27FC236}">
                    <a16:creationId xmlns:a16="http://schemas.microsoft.com/office/drawing/2014/main" id="{E8D16520-B153-4339-B375-7E7829431D5B}"/>
                  </a:ext>
                </a:extLst>
              </p:cNvPr>
              <p:cNvSpPr/>
              <p:nvPr/>
            </p:nvSpPr>
            <p:spPr>
              <a:xfrm flipH="1" flipV="1">
                <a:off x="2596098" y="2559865"/>
                <a:ext cx="2181673" cy="123995"/>
              </a:xfrm>
              <a:prstGeom prst="rtTriangle">
                <a:avLst/>
              </a:prstGeom>
              <a:solidFill>
                <a:srgbClr val="005A64"/>
              </a:solidFill>
              <a:ln w="57150">
                <a:solidFill>
                  <a:srgbClr val="005A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37160" tIns="342900" rIns="137160" bIns="685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>
                  <a:spcBef>
                    <a:spcPts val="1350"/>
                  </a:spcBef>
                </a:pPr>
                <a:endParaRPr lang="en-US" sz="105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56" name="Arrow: Pentagon 55">
                <a:extLst>
                  <a:ext uri="{FF2B5EF4-FFF2-40B4-BE49-F238E27FC236}">
                    <a16:creationId xmlns:a16="http://schemas.microsoft.com/office/drawing/2014/main" id="{0EB70031-DD32-458A-82D9-326183F7A65B}"/>
                  </a:ext>
                </a:extLst>
              </p:cNvPr>
              <p:cNvSpPr/>
              <p:nvPr/>
            </p:nvSpPr>
            <p:spPr>
              <a:xfrm>
                <a:off x="1634319" y="2053200"/>
                <a:ext cx="3463451" cy="554291"/>
              </a:xfrm>
              <a:prstGeom prst="homePlate">
                <a:avLst/>
              </a:prstGeom>
              <a:solidFill>
                <a:srgbClr val="009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61722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050" b="1" cap="all"/>
                  <a:t>Mambu orientation</a:t>
                </a: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2737CE4-47F6-42BA-9D3D-C3B9C7FD0AC3}"/>
                  </a:ext>
                </a:extLst>
              </p:cNvPr>
              <p:cNvSpPr/>
              <p:nvPr/>
            </p:nvSpPr>
            <p:spPr>
              <a:xfrm>
                <a:off x="1740081" y="2129454"/>
                <a:ext cx="401782" cy="401782"/>
              </a:xfrm>
              <a:prstGeom prst="rect">
                <a:avLst/>
              </a:prstGeom>
              <a:solidFill>
                <a:srgbClr val="0097A9"/>
              </a:solidFill>
              <a:ln>
                <a:noFill/>
              </a:ln>
              <a:effectLst>
                <a:innerShdw dist="50800" dir="2700000">
                  <a:prstClr val="black">
                    <a:alpha val="50000"/>
                  </a:prstClr>
                </a:innerShd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200" b="1" cap="all"/>
                  <a:t>01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215FE8B-4427-49CF-85C7-E02A8553E64B}"/>
                </a:ext>
              </a:extLst>
            </p:cNvPr>
            <p:cNvGrpSpPr/>
            <p:nvPr/>
          </p:nvGrpSpPr>
          <p:grpSpPr>
            <a:xfrm>
              <a:off x="4262384" y="2019929"/>
              <a:ext cx="3501103" cy="3694770"/>
              <a:chOff x="4600531" y="2053200"/>
              <a:chExt cx="3501103" cy="3406621"/>
            </a:xfrm>
          </p:grpSpPr>
          <p:sp>
            <p:nvSpPr>
              <p:cNvPr id="49" name="Right Triangle 48">
                <a:extLst>
                  <a:ext uri="{FF2B5EF4-FFF2-40B4-BE49-F238E27FC236}">
                    <a16:creationId xmlns:a16="http://schemas.microsoft.com/office/drawing/2014/main" id="{565B680D-617B-4A8A-A1F3-6995192C2CCF}"/>
                  </a:ext>
                </a:extLst>
              </p:cNvPr>
              <p:cNvSpPr/>
              <p:nvPr/>
            </p:nvSpPr>
            <p:spPr>
              <a:xfrm flipH="1" flipV="1">
                <a:off x="4600532" y="2607491"/>
                <a:ext cx="306653" cy="228599"/>
              </a:xfrm>
              <a:prstGeom prst="rtTriangl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350"/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D119D3C7-6C0F-4676-9635-325AC42CA380}"/>
                  </a:ext>
                </a:extLst>
              </p:cNvPr>
              <p:cNvSpPr/>
              <p:nvPr/>
            </p:nvSpPr>
            <p:spPr>
              <a:xfrm>
                <a:off x="4907185" y="2439529"/>
                <a:ext cx="2836800" cy="3020292"/>
              </a:xfrm>
              <a:prstGeom prst="rect">
                <a:avLst/>
              </a:prstGeom>
              <a:solidFill>
                <a:schemeClr val="bg1"/>
              </a:solidFill>
              <a:ln w="571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37160" tIns="342900" rIns="137160" bIns="685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>
                  <a:spcBef>
                    <a:spcPts val="1350"/>
                  </a:spcBef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How to sell Mambu. Includes solution-</a:t>
                </a:r>
                <a:r>
                  <a:rPr lang="pt-PT" sz="900" err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based</a:t>
                </a: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 sales.</a:t>
                </a:r>
                <a:endParaRPr lang="pt-PT" sz="105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  <a:p>
                <a:pPr algn="just">
                  <a:lnSpc>
                    <a:spcPts val="2000"/>
                  </a:lnSpc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Includes:</a:t>
                </a:r>
              </a:p>
              <a:p>
                <a:pPr marL="171450" indent="-171450" algn="just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What are the Market Trends and How Does the Mambu’s Value Proposition Fit?</a:t>
                </a:r>
              </a:p>
              <a:p>
                <a:pPr marL="171450" indent="-171450" algn="just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What is Composability?</a:t>
                </a:r>
              </a:p>
              <a:p>
                <a:pPr marL="171450" indent="-171450" algn="just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Overview of Mambu’s Functionality</a:t>
                </a:r>
                <a:endPara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54" name="Right Triangle 53">
                <a:extLst>
                  <a:ext uri="{FF2B5EF4-FFF2-40B4-BE49-F238E27FC236}">
                    <a16:creationId xmlns:a16="http://schemas.microsoft.com/office/drawing/2014/main" id="{7E9DFCF6-2E4F-4B56-8FB4-02DB1B664A4D}"/>
                  </a:ext>
                </a:extLst>
              </p:cNvPr>
              <p:cNvSpPr/>
              <p:nvPr/>
            </p:nvSpPr>
            <p:spPr>
              <a:xfrm flipH="1" flipV="1">
                <a:off x="5562310" y="2594936"/>
                <a:ext cx="2181673" cy="74811"/>
              </a:xfrm>
              <a:prstGeom prst="rtTriangle">
                <a:avLst/>
              </a:prstGeom>
              <a:solidFill>
                <a:schemeClr val="accent2">
                  <a:lumMod val="50000"/>
                </a:schemeClr>
              </a:solidFill>
              <a:ln w="5715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37160" tIns="342900" rIns="137160" bIns="685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>
                  <a:spcBef>
                    <a:spcPts val="1350"/>
                  </a:spcBef>
                </a:pPr>
                <a:endParaRPr lang="en-US" sz="105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58" name="Arrow: Pentagon 57">
                <a:extLst>
                  <a:ext uri="{FF2B5EF4-FFF2-40B4-BE49-F238E27FC236}">
                    <a16:creationId xmlns:a16="http://schemas.microsoft.com/office/drawing/2014/main" id="{82C363AB-F2BB-450B-979E-8DE4224CF3FA}"/>
                  </a:ext>
                </a:extLst>
              </p:cNvPr>
              <p:cNvSpPr/>
              <p:nvPr/>
            </p:nvSpPr>
            <p:spPr>
              <a:xfrm>
                <a:off x="4600531" y="2053200"/>
                <a:ext cx="3501103" cy="554291"/>
              </a:xfrm>
              <a:prstGeom prst="homePlate">
                <a:avLst/>
              </a:prstGeom>
              <a:solidFill>
                <a:srgbClr val="75787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61722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050" b="1" cap="all"/>
                  <a:t>Sales Accreditation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788286DE-6208-4DEB-A0D6-DFC29E04B8C7}"/>
                  </a:ext>
                </a:extLst>
              </p:cNvPr>
              <p:cNvSpPr/>
              <p:nvPr/>
            </p:nvSpPr>
            <p:spPr>
              <a:xfrm>
                <a:off x="4706294" y="2129454"/>
                <a:ext cx="401782" cy="401782"/>
              </a:xfrm>
              <a:prstGeom prst="rect">
                <a:avLst/>
              </a:prstGeom>
              <a:solidFill>
                <a:srgbClr val="75787B"/>
              </a:solidFill>
              <a:ln>
                <a:noFill/>
              </a:ln>
              <a:effectLst>
                <a:innerShdw dist="50800" dir="2700000">
                  <a:prstClr val="black">
                    <a:alpha val="50000"/>
                  </a:prstClr>
                </a:innerShd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200" b="1" cap="all"/>
                  <a:t>02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6F8C04D-1DB4-4A8C-BD61-1E891555DE16}"/>
                </a:ext>
              </a:extLst>
            </p:cNvPr>
            <p:cNvGrpSpPr/>
            <p:nvPr/>
          </p:nvGrpSpPr>
          <p:grpSpPr>
            <a:xfrm>
              <a:off x="7964374" y="2053200"/>
              <a:ext cx="3437051" cy="3696503"/>
              <a:chOff x="7964374" y="2053200"/>
              <a:chExt cx="3437051" cy="3696503"/>
            </a:xfrm>
          </p:grpSpPr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CA35515A-9D8B-43B0-8232-78961BF46DDC}"/>
                  </a:ext>
                </a:extLst>
              </p:cNvPr>
              <p:cNvSpPr/>
              <p:nvPr/>
            </p:nvSpPr>
            <p:spPr>
              <a:xfrm>
                <a:off x="8271030" y="2441127"/>
                <a:ext cx="2834987" cy="3308576"/>
              </a:xfrm>
              <a:prstGeom prst="rect">
                <a:avLst/>
              </a:prstGeom>
              <a:solidFill>
                <a:schemeClr val="bg1"/>
              </a:solidFill>
              <a:ln w="571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37160" tIns="342900" rIns="137160" bIns="685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>
                  <a:spcBef>
                    <a:spcPts val="1350"/>
                  </a:spcBef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How to have a techinical architecture discussion with a customer.</a:t>
                </a:r>
              </a:p>
              <a:p>
                <a:pPr algn="just">
                  <a:lnSpc>
                    <a:spcPts val="2000"/>
                  </a:lnSpc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Includes: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Introduction to the Mambu User Interface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Introduction to the Mambu Application Architecture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Overview of Mambu’s Reference Architecture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Overview of Mambu’s Reference Architectures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Business User Introduction to Lending &amp; Deposits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System Administrator Configuration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Deposits – Product Owner &amp; Customer Account Associate Training;</a:t>
                </a:r>
              </a:p>
              <a:p>
                <a:pPr marL="171450" indent="-171450">
                  <a:lnSpc>
                    <a:spcPts val="1200"/>
                  </a:lnSpc>
                  <a:buFont typeface="Arial" panose="020B0604020202020204" pitchFamily="34" charset="0"/>
                  <a:buChar char="•"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Lending – product Owner &amp; Customer Account Associate Training.</a:t>
                </a:r>
                <a:endPara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51" name="Right Triangle 50">
                <a:extLst>
                  <a:ext uri="{FF2B5EF4-FFF2-40B4-BE49-F238E27FC236}">
                    <a16:creationId xmlns:a16="http://schemas.microsoft.com/office/drawing/2014/main" id="{CEFB4CA7-78CF-449C-986D-826F82960A43}"/>
                  </a:ext>
                </a:extLst>
              </p:cNvPr>
              <p:cNvSpPr/>
              <p:nvPr/>
            </p:nvSpPr>
            <p:spPr>
              <a:xfrm flipH="1" flipV="1">
                <a:off x="7964374" y="2607488"/>
                <a:ext cx="352710" cy="228599"/>
              </a:xfrm>
              <a:prstGeom prst="rtTriangle">
                <a:avLst/>
              </a:pr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350"/>
              </a:p>
            </p:txBody>
          </p:sp>
          <p:sp>
            <p:nvSpPr>
              <p:cNvPr id="53" name="Right Triangle 52">
                <a:extLst>
                  <a:ext uri="{FF2B5EF4-FFF2-40B4-BE49-F238E27FC236}">
                    <a16:creationId xmlns:a16="http://schemas.microsoft.com/office/drawing/2014/main" id="{E0DFB971-3C4F-4C58-B450-89057B58CF26}"/>
                  </a:ext>
                </a:extLst>
              </p:cNvPr>
              <p:cNvSpPr/>
              <p:nvPr/>
            </p:nvSpPr>
            <p:spPr>
              <a:xfrm flipH="1" flipV="1">
                <a:off x="8926155" y="2559862"/>
                <a:ext cx="2183842" cy="123999"/>
              </a:xfrm>
              <a:prstGeom prst="rtTriangle">
                <a:avLst/>
              </a:prstGeom>
              <a:solidFill>
                <a:srgbClr val="005270"/>
              </a:solidFill>
              <a:ln w="57150">
                <a:solidFill>
                  <a:srgbClr val="00527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37160" tIns="342900" rIns="137160" bIns="685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>
                  <a:spcBef>
                    <a:spcPts val="1350"/>
                  </a:spcBef>
                </a:pPr>
                <a:endParaRPr lang="en-US" sz="105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60" name="Arrow: Pentagon 59">
                <a:extLst>
                  <a:ext uri="{FF2B5EF4-FFF2-40B4-BE49-F238E27FC236}">
                    <a16:creationId xmlns:a16="http://schemas.microsoft.com/office/drawing/2014/main" id="{7AB4DE56-A4BF-431A-AB74-9B93878F64AF}"/>
                  </a:ext>
                </a:extLst>
              </p:cNvPr>
              <p:cNvSpPr/>
              <p:nvPr/>
            </p:nvSpPr>
            <p:spPr>
              <a:xfrm>
                <a:off x="7964378" y="2053200"/>
                <a:ext cx="3437047" cy="554291"/>
              </a:xfrm>
              <a:prstGeom prst="homePlate">
                <a:avLst/>
              </a:prstGeom>
              <a:solidFill>
                <a:srgbClr val="00A3E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61722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050" b="1" cap="all"/>
                  <a:t>Solutions Consultant Accreditation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581FCFFC-8DA0-499B-9CB9-D4685AFD8F99}"/>
                  </a:ext>
                </a:extLst>
              </p:cNvPr>
              <p:cNvSpPr/>
              <p:nvPr/>
            </p:nvSpPr>
            <p:spPr>
              <a:xfrm>
                <a:off x="8070139" y="2129454"/>
                <a:ext cx="462127" cy="401782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effectLst>
                <a:innerShdw dist="50800" dir="2700000">
                  <a:prstClr val="black">
                    <a:alpha val="50000"/>
                  </a:prstClr>
                </a:innerShd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200" b="1" cap="all"/>
                  <a:t>03</a:t>
                </a:r>
              </a:p>
            </p:txBody>
          </p:sp>
        </p:grpSp>
      </p:grpSp>
      <p:sp>
        <p:nvSpPr>
          <p:cNvPr id="63" name="Content Placeholder 1">
            <a:extLst>
              <a:ext uri="{FF2B5EF4-FFF2-40B4-BE49-F238E27FC236}">
                <a16:creationId xmlns:a16="http://schemas.microsoft.com/office/drawing/2014/main" id="{6BDAB19C-AA7E-4569-BB4D-1EA5A8D526B2}"/>
              </a:ext>
            </a:extLst>
          </p:cNvPr>
          <p:cNvSpPr txBox="1">
            <a:spLocks/>
          </p:cNvSpPr>
          <p:nvPr/>
        </p:nvSpPr>
        <p:spPr>
          <a:xfrm>
            <a:off x="469900" y="5941194"/>
            <a:ext cx="11188700" cy="240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 b="1"/>
              <a:t>Note: </a:t>
            </a:r>
            <a:r>
              <a:rPr lang="en-US"/>
              <a:t>The learning paths must be performed in the order presented.</a:t>
            </a:r>
          </a:p>
        </p:txBody>
      </p:sp>
    </p:spTree>
    <p:extLst>
      <p:ext uri="{BB962C8B-B14F-4D97-AF65-F5344CB8AC3E}">
        <p14:creationId xmlns:p14="http://schemas.microsoft.com/office/powerpoint/2010/main" val="1282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Register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Partner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4504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pt-PT"/>
              <a:t>1. Access the portal </a:t>
            </a:r>
            <a:r>
              <a:rPr lang="pt-PT" err="1"/>
              <a:t>through</a:t>
            </a:r>
            <a:r>
              <a:rPr lang="pt-PT"/>
              <a:t> the </a:t>
            </a:r>
            <a:r>
              <a:rPr lang="pt-PT" err="1"/>
              <a:t>following</a:t>
            </a:r>
            <a:r>
              <a:rPr lang="pt-PT"/>
              <a:t> link: </a:t>
            </a:r>
            <a:r>
              <a:rPr lang="pt-PT">
                <a:hlinkClick r:id="rId3"/>
              </a:rPr>
              <a:t>Mambu Partner </a:t>
            </a:r>
            <a:r>
              <a:rPr lang="pt-PT" err="1">
                <a:hlinkClick r:id="rId3"/>
              </a:rPr>
              <a:t>Program</a:t>
            </a:r>
            <a:endParaRPr lang="pt-PT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2CEEF65-7B37-49D0-BF22-FC6723992253}"/>
              </a:ext>
            </a:extLst>
          </p:cNvPr>
          <p:cNvGrpSpPr/>
          <p:nvPr/>
        </p:nvGrpSpPr>
        <p:grpSpPr>
          <a:xfrm>
            <a:off x="1799659" y="2230014"/>
            <a:ext cx="8592681" cy="3354068"/>
            <a:chOff x="1799659" y="2442807"/>
            <a:chExt cx="8592681" cy="335406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0514E79-D6FD-4227-BCEC-807D088D64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55194" y="2442807"/>
              <a:ext cx="7037146" cy="3354068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FE11F00-27A8-46E7-872E-84BDF4DFEC96}"/>
                </a:ext>
              </a:extLst>
            </p:cNvPr>
            <p:cNvSpPr/>
            <p:nvPr/>
          </p:nvSpPr>
          <p:spPr bwMode="gray">
            <a:xfrm>
              <a:off x="4458266" y="5253254"/>
              <a:ext cx="593725" cy="257175"/>
            </a:xfrm>
            <a:prstGeom prst="rect">
              <a:avLst/>
            </a:prstGeom>
            <a:noFill/>
            <a:ln w="6350" algn="ctr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pt-PT" sz="1600" b="1">
                <a:solidFill>
                  <a:schemeClr val="bg1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CE53366-2811-41BE-AFD8-C5BB51C8272C}"/>
                </a:ext>
              </a:extLst>
            </p:cNvPr>
            <p:cNvCxnSpPr/>
            <p:nvPr/>
          </p:nvCxnSpPr>
          <p:spPr>
            <a:xfrm flipH="1">
              <a:off x="3166041" y="5381841"/>
              <a:ext cx="1292225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D6AD042-B3B1-4A45-8FB2-E1B1FE773F37}"/>
                </a:ext>
              </a:extLst>
            </p:cNvPr>
            <p:cNvSpPr/>
            <p:nvPr/>
          </p:nvSpPr>
          <p:spPr bwMode="gray">
            <a:xfrm>
              <a:off x="1799659" y="5124746"/>
              <a:ext cx="1366382" cy="51418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lick </a:t>
              </a:r>
              <a:r>
                <a:rPr lang="pt-PT" sz="900" b="1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pply</a:t>
              </a:r>
              <a:r>
                <a:rPr lang="pt-PT" sz="9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pt-PT" sz="900" b="1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Now</a:t>
              </a: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, </a:t>
              </a:r>
              <a:r>
                <a:rPr lang="en-US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to make a new registration </a:t>
              </a:r>
              <a:endParaRPr lang="pt-PT" sz="9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361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Register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Partner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4504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pt-PT"/>
              <a:t>2. </a:t>
            </a:r>
            <a:r>
              <a:rPr lang="en-US"/>
              <a:t>By clicking </a:t>
            </a:r>
            <a:r>
              <a:rPr lang="en-US" b="1"/>
              <a:t>Apply Now</a:t>
            </a:r>
            <a:r>
              <a:rPr lang="en-US"/>
              <a:t>, you will be redirected to another page, where you need to enter your business email. After entering the email, click </a:t>
            </a:r>
            <a:r>
              <a:rPr lang="en-US" b="1"/>
              <a:t>Next</a:t>
            </a:r>
            <a:r>
              <a:rPr lang="en-US"/>
              <a:t>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EBB77B-5A95-462E-837B-2E1377FE5C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2079" y="2626873"/>
            <a:ext cx="7728088" cy="2282776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890860AF-E41B-45A9-B518-96B0834E0388}"/>
              </a:ext>
            </a:extLst>
          </p:cNvPr>
          <p:cNvGrpSpPr/>
          <p:nvPr/>
        </p:nvGrpSpPr>
        <p:grpSpPr>
          <a:xfrm>
            <a:off x="1204802" y="4045515"/>
            <a:ext cx="4716164" cy="597538"/>
            <a:chOff x="1204802" y="4045515"/>
            <a:chExt cx="4716164" cy="59753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5CA71BD-D6DD-43FE-8923-AB165E4DB5FF}"/>
                </a:ext>
              </a:extLst>
            </p:cNvPr>
            <p:cNvSpPr/>
            <p:nvPr/>
          </p:nvSpPr>
          <p:spPr bwMode="gray">
            <a:xfrm>
              <a:off x="2991604" y="4045515"/>
              <a:ext cx="2929362" cy="589859"/>
            </a:xfrm>
            <a:prstGeom prst="rect">
              <a:avLst/>
            </a:prstGeom>
            <a:noFill/>
            <a:ln w="6350" algn="ctr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pt-PT" sz="1600" b="1">
                <a:solidFill>
                  <a:schemeClr val="bg1"/>
                </a:solidFill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E88E355-6ADD-4480-A4C6-4EC7DF68E96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71184" y="4385959"/>
              <a:ext cx="420421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3E3ED2D-C819-4166-94E8-EBBD228FA413}"/>
                </a:ext>
              </a:extLst>
            </p:cNvPr>
            <p:cNvSpPr/>
            <p:nvPr/>
          </p:nvSpPr>
          <p:spPr bwMode="gray">
            <a:xfrm>
              <a:off x="1204802" y="4128864"/>
              <a:ext cx="1366382" cy="51418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pt-PT" sz="90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Insert</a:t>
              </a: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pt-PT" sz="90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your</a:t>
              </a: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pt-PT" sz="90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mpany</a:t>
              </a: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e-mail </a:t>
              </a:r>
              <a:r>
                <a:rPr lang="pt-PT" sz="90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ddress</a:t>
              </a:r>
              <a:endParaRPr lang="pt-PT" sz="9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47909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Register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Partner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74149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pt-PT"/>
              <a:t>3. </a:t>
            </a:r>
            <a:r>
              <a:rPr lang="en-US"/>
              <a:t>By clicking </a:t>
            </a:r>
            <a:r>
              <a:rPr lang="en-US" b="1"/>
              <a:t>Apply Now</a:t>
            </a:r>
            <a:r>
              <a:rPr lang="en-US"/>
              <a:t>, you will be redirected to another page to Account Registration. Account Registration consists of filling in 3 sections: Contact Information, Company Information and Preferences.</a:t>
            </a:r>
          </a:p>
          <a:p>
            <a:pPr lvl="2" indent="0">
              <a:buNone/>
            </a:pPr>
            <a:r>
              <a:rPr lang="en-US"/>
              <a:t>Area of </a:t>
            </a:r>
            <a:r>
              <a:rPr lang="en-US" b="1"/>
              <a:t>Contact Information</a:t>
            </a:r>
            <a:r>
              <a:rPr lang="en-US"/>
              <a:t>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B6101-4072-467F-BC84-AC87C03EBEA6}"/>
              </a:ext>
            </a:extLst>
          </p:cNvPr>
          <p:cNvGrpSpPr/>
          <p:nvPr/>
        </p:nvGrpSpPr>
        <p:grpSpPr>
          <a:xfrm>
            <a:off x="1776413" y="2334207"/>
            <a:ext cx="8639175" cy="3694536"/>
            <a:chOff x="1419225" y="2230014"/>
            <a:chExt cx="8639175" cy="369453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A4CBA8D-925D-4E91-AB7A-8359337377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52800" y="2230014"/>
              <a:ext cx="6705600" cy="3619722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34A189-0E72-4C0F-8FF3-A570166AF40B}"/>
                </a:ext>
              </a:extLst>
            </p:cNvPr>
            <p:cNvSpPr/>
            <p:nvPr/>
          </p:nvSpPr>
          <p:spPr bwMode="gray">
            <a:xfrm>
              <a:off x="3639303" y="2740377"/>
              <a:ext cx="6066671" cy="3184173"/>
            </a:xfrm>
            <a:prstGeom prst="rect">
              <a:avLst/>
            </a:prstGeom>
            <a:noFill/>
            <a:ln w="6350" algn="ctr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pt-PT" sz="1600" b="1">
                <a:solidFill>
                  <a:schemeClr val="bg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9E3A500-F3FA-4F23-8A6F-9342CD7EC2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18882" y="4243084"/>
              <a:ext cx="420421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EA33DF9-98A0-426F-8909-3500272E9FEB}"/>
                </a:ext>
              </a:extLst>
            </p:cNvPr>
            <p:cNvSpPr/>
            <p:nvPr/>
          </p:nvSpPr>
          <p:spPr bwMode="gray">
            <a:xfrm>
              <a:off x="1419225" y="3985989"/>
              <a:ext cx="1933575" cy="51418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rea of </a:t>
              </a:r>
              <a:r>
                <a:rPr lang="pt-PT" sz="90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ntact</a:t>
              </a: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Inform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48572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Register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Partner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4504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pt-PT"/>
              <a:t>4. </a:t>
            </a:r>
            <a:r>
              <a:rPr lang="en-US"/>
              <a:t>Area of </a:t>
            </a:r>
            <a:r>
              <a:rPr lang="en-US" b="1"/>
              <a:t>Company Information:</a:t>
            </a:r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B669DE2-7F7A-47F5-816D-823F6EBAB6BE}"/>
              </a:ext>
            </a:extLst>
          </p:cNvPr>
          <p:cNvGrpSpPr/>
          <p:nvPr/>
        </p:nvGrpSpPr>
        <p:grpSpPr>
          <a:xfrm>
            <a:off x="1756702" y="2095277"/>
            <a:ext cx="8678596" cy="4026035"/>
            <a:chOff x="1217879" y="2230014"/>
            <a:chExt cx="8678596" cy="402603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9A4F8F6-EC84-4F82-BCC1-E639DAA88B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33775" y="2230014"/>
              <a:ext cx="6362700" cy="391449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A34A189-0E72-4C0F-8FF3-A570166AF40B}"/>
                </a:ext>
              </a:extLst>
            </p:cNvPr>
            <p:cNvSpPr/>
            <p:nvPr/>
          </p:nvSpPr>
          <p:spPr bwMode="gray">
            <a:xfrm>
              <a:off x="3533775" y="2266239"/>
              <a:ext cx="6080650" cy="3989810"/>
            </a:xfrm>
            <a:prstGeom prst="rect">
              <a:avLst/>
            </a:prstGeom>
            <a:noFill/>
            <a:ln w="6350" algn="ctr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pt-PT" sz="1600" b="1">
                <a:solidFill>
                  <a:schemeClr val="bg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9E3A500-F3FA-4F23-8A6F-9342CD7EC2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13354" y="4149149"/>
              <a:ext cx="420421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EA33DF9-98A0-426F-8909-3500272E9FEB}"/>
                </a:ext>
              </a:extLst>
            </p:cNvPr>
            <p:cNvSpPr/>
            <p:nvPr/>
          </p:nvSpPr>
          <p:spPr bwMode="gray">
            <a:xfrm>
              <a:off x="1217879" y="3827006"/>
              <a:ext cx="1895475" cy="644285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rea of </a:t>
              </a:r>
              <a:r>
                <a:rPr lang="pt-PT" sz="90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mpany</a:t>
              </a:r>
              <a:r>
                <a: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Inform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64737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9" name="Rectangle 8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mbu Partner Academy: Register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I. Mambu Partner Academy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501650" y="1497903"/>
            <a:ext cx="11188700" cy="4504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pt-PT"/>
              <a:t>5. </a:t>
            </a:r>
            <a:r>
              <a:rPr lang="en-US"/>
              <a:t>Area of </a:t>
            </a:r>
            <a:r>
              <a:rPr lang="en-US" b="1"/>
              <a:t>Area of Preferences. </a:t>
            </a:r>
            <a:r>
              <a:rPr lang="en-US"/>
              <a:t>After completing all sections, click the </a:t>
            </a:r>
            <a:r>
              <a:rPr lang="en-US" b="1"/>
              <a:t>Submit</a:t>
            </a:r>
            <a:r>
              <a:rPr lang="en-US"/>
              <a:t> button. After submitting the form, appear a confirmation message </a:t>
            </a:r>
            <a:r>
              <a:rPr lang="en-US" b="1"/>
              <a:t>Application Submitted</a:t>
            </a:r>
            <a:r>
              <a:rPr lang="en-US"/>
              <a:t>. In a few minutes, you will receive a validation email in your company mailbox.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8FA7F78-1B1B-4C12-B346-054ACF588C52}"/>
              </a:ext>
            </a:extLst>
          </p:cNvPr>
          <p:cNvGrpSpPr/>
          <p:nvPr/>
        </p:nvGrpSpPr>
        <p:grpSpPr>
          <a:xfrm>
            <a:off x="1445198" y="2053200"/>
            <a:ext cx="9301604" cy="3720227"/>
            <a:chOff x="425009" y="2053200"/>
            <a:chExt cx="9301604" cy="372022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8D9165A-7DAA-42F0-8363-E3DFCC3EB279}"/>
                </a:ext>
              </a:extLst>
            </p:cNvPr>
            <p:cNvSpPr/>
            <p:nvPr/>
          </p:nvSpPr>
          <p:spPr bwMode="gray">
            <a:xfrm>
              <a:off x="2820988" y="2053200"/>
              <a:ext cx="6905625" cy="2292521"/>
            </a:xfrm>
            <a:prstGeom prst="rect">
              <a:avLst/>
            </a:prstGeom>
            <a:noFill/>
            <a:ln w="6350" algn="ctr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pt-PT" sz="1600" b="1">
                <a:solidFill>
                  <a:schemeClr val="bg1"/>
                </a:solidFill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13B9BCB-E10A-4283-9EC7-9D2F6EBE9CC2}"/>
                </a:ext>
              </a:extLst>
            </p:cNvPr>
            <p:cNvGrpSpPr/>
            <p:nvPr/>
          </p:nvGrpSpPr>
          <p:grpSpPr>
            <a:xfrm>
              <a:off x="425009" y="2227978"/>
              <a:ext cx="9184295" cy="2084682"/>
              <a:chOff x="425009" y="2227978"/>
              <a:chExt cx="9184295" cy="2084682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BB66FD32-3BBE-4333-ADBF-131673B4AD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932279" y="2227978"/>
                <a:ext cx="6677025" cy="2084682"/>
              </a:xfrm>
              <a:prstGeom prst="rect">
                <a:avLst/>
              </a:prstGeom>
            </p:spPr>
          </p:pic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E3914BA0-62C9-4AE6-8EF3-2C5B1D1C7C96}"/>
                  </a:ext>
                </a:extLst>
              </p:cNvPr>
              <p:cNvCxnSpPr>
                <a:cxnSpLocks/>
                <a:endCxn id="18" idx="3"/>
              </p:cNvCxnSpPr>
              <p:nvPr/>
            </p:nvCxnSpPr>
            <p:spPr>
              <a:xfrm flipH="1">
                <a:off x="2574618" y="2994468"/>
                <a:ext cx="242929" cy="0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3E906947-ECD3-45C3-B745-C4A81B22A07B}"/>
                  </a:ext>
                </a:extLst>
              </p:cNvPr>
              <p:cNvSpPr/>
              <p:nvPr/>
            </p:nvSpPr>
            <p:spPr bwMode="gray">
              <a:xfrm>
                <a:off x="679143" y="2672325"/>
                <a:ext cx="1895475" cy="644285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Area of </a:t>
                </a:r>
                <a:r>
                  <a:rPr lang="pt-PT" sz="900" err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Preferences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3CD852C2-82CA-4681-B5E4-E292E1B95E24}"/>
                  </a:ext>
                </a:extLst>
              </p:cNvPr>
              <p:cNvSpPr/>
              <p:nvPr/>
            </p:nvSpPr>
            <p:spPr bwMode="gray">
              <a:xfrm>
                <a:off x="425009" y="3870526"/>
                <a:ext cx="2149609" cy="248134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lick </a:t>
                </a:r>
                <a:r>
                  <a:rPr lang="pt-PT" sz="900" b="1" err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Submit</a:t>
                </a: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, to </a:t>
                </a:r>
                <a:r>
                  <a:rPr lang="pt-PT" sz="900" err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Register</a:t>
                </a:r>
                <a:endParaRPr lang="pt-PT" sz="9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159B577-0CB8-45A8-8DBC-B4809BB68F5F}"/>
                </a:ext>
              </a:extLst>
            </p:cNvPr>
            <p:cNvGrpSpPr/>
            <p:nvPr/>
          </p:nvGrpSpPr>
          <p:grpSpPr>
            <a:xfrm>
              <a:off x="923453" y="4630726"/>
              <a:ext cx="7133713" cy="1142701"/>
              <a:chOff x="923453" y="4630726"/>
              <a:chExt cx="7133713" cy="1142701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C3F98B78-24A1-4464-A2D3-C22BBFA2799A}"/>
                  </a:ext>
                </a:extLst>
              </p:cNvPr>
              <p:cNvGrpSpPr/>
              <p:nvPr/>
            </p:nvGrpSpPr>
            <p:grpSpPr>
              <a:xfrm>
                <a:off x="2378075" y="4630726"/>
                <a:ext cx="5679091" cy="1142701"/>
                <a:chOff x="2416268" y="4507799"/>
                <a:chExt cx="5679091" cy="1142701"/>
              </a:xfrm>
            </p:grpSpPr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79F30287-EBBC-4BC1-8F20-06DF2CC3D0AE}"/>
                    </a:ext>
                  </a:extLst>
                </p:cNvPr>
                <p:cNvGrpSpPr/>
                <p:nvPr/>
              </p:nvGrpSpPr>
              <p:grpSpPr>
                <a:xfrm>
                  <a:off x="2750924" y="4507799"/>
                  <a:ext cx="5344435" cy="1142701"/>
                  <a:chOff x="4343359" y="4383736"/>
                  <a:chExt cx="5344435" cy="1142701"/>
                </a:xfrm>
              </p:grpSpPr>
              <p:pic>
                <p:nvPicPr>
                  <p:cNvPr id="12" name="Picture 11">
                    <a:extLst>
                      <a:ext uri="{FF2B5EF4-FFF2-40B4-BE49-F238E27FC236}">
                        <a16:creationId xmlns:a16="http://schemas.microsoft.com/office/drawing/2014/main" id="{4057BC3A-F81E-4729-9055-AC5FBF5CB88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4343359" y="4383736"/>
                    <a:ext cx="5344435" cy="1142701"/>
                  </a:xfrm>
                  <a:prstGeom prst="rect">
                    <a:avLst/>
                  </a:prstGeom>
                </p:spPr>
              </p:pic>
              <p:sp>
                <p:nvSpPr>
                  <p:cNvPr id="23" name="Rectangle 22">
                    <a:extLst>
                      <a:ext uri="{FF2B5EF4-FFF2-40B4-BE49-F238E27FC236}">
                        <a16:creationId xmlns:a16="http://schemas.microsoft.com/office/drawing/2014/main" id="{EE2B22E5-509E-4F99-97EC-F8114B59AA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429124" y="4468652"/>
                    <a:ext cx="5258669" cy="989174"/>
                  </a:xfrm>
                  <a:prstGeom prst="rect">
                    <a:avLst/>
                  </a:prstGeom>
                  <a:noFill/>
                  <a:ln w="6350" algn="ctr">
                    <a:solidFill>
                      <a:schemeClr val="bg1">
                        <a:lumMod val="65000"/>
                      </a:schemeClr>
                    </a:solidFill>
                    <a:prstDash val="dash"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algn="ctr">
                      <a:lnSpc>
                        <a:spcPct val="106000"/>
                      </a:lnSpc>
                      <a:buFont typeface="Wingdings 2" pitchFamily="18" charset="2"/>
                      <a:buNone/>
                    </a:pPr>
                    <a:endParaRPr lang="pt-PT" sz="1600" b="1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F30B84BF-14F1-474D-A15D-87E8490123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416268" y="5073242"/>
                  <a:ext cx="420421" cy="0"/>
                </a:xfrm>
                <a:prstGeom prst="line">
                  <a:avLst/>
                </a:prstGeom>
                <a:ln w="6350">
                  <a:solidFill>
                    <a:schemeClr val="bg1">
                      <a:lumMod val="6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643B85F-62AB-4F95-BA6D-132A38AE8172}"/>
                  </a:ext>
                </a:extLst>
              </p:cNvPr>
              <p:cNvSpPr/>
              <p:nvPr/>
            </p:nvSpPr>
            <p:spPr bwMode="gray">
              <a:xfrm>
                <a:off x="923453" y="5086162"/>
                <a:ext cx="1651165" cy="248134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pt-PT" sz="90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Confirmation message</a:t>
                </a:r>
              </a:p>
            </p:txBody>
          </p: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CB6D5E8-C7D7-4B61-BD78-1C4AFB651F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38406" y="4059980"/>
              <a:ext cx="566934" cy="0"/>
            </a:xfrm>
            <a:prstGeom prst="line">
              <a:avLst/>
            </a:prstGeom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74612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252FBB7ED8BA4BAFEC7AD83ADFCCDE" ma:contentTypeVersion="7" ma:contentTypeDescription="Create a new document." ma:contentTypeScope="" ma:versionID="73a41095289836d3a91b239d2d6f17d1">
  <xsd:schema xmlns:xsd="http://www.w3.org/2001/XMLSchema" xmlns:xs="http://www.w3.org/2001/XMLSchema" xmlns:p="http://schemas.microsoft.com/office/2006/metadata/properties" xmlns:ns2="870b76e1-d0c9-4b7c-879e-0e146b851ed5" xmlns:ns3="633efcde-3268-4238-8458-b1d144ab9000" targetNamespace="http://schemas.microsoft.com/office/2006/metadata/properties" ma:root="true" ma:fieldsID="9b44594cd2278b44ae4d66133f361eb6" ns2:_="" ns3:_="">
    <xsd:import namespace="870b76e1-d0c9-4b7c-879e-0e146b851ed5"/>
    <xsd:import namespace="633efcde-3268-4238-8458-b1d144ab90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0b76e1-d0c9-4b7c-879e-0e146b851e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3efcde-3268-4238-8458-b1d144ab900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F43D497-F5F3-4419-8723-31412C3686D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ADC9106-6EFB-46FB-BF42-5279AD2061A4}">
  <ds:schemaRefs>
    <ds:schemaRef ds:uri="633efcde-3268-4238-8458-b1d144ab9000"/>
    <ds:schemaRef ds:uri="870b76e1-d0c9-4b7c-879e-0e146b851ed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A1DDBB2-0D13-4D5A-8452-398D2BCE7FF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3</Slides>
  <Notes>22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1_Simple Light</vt:lpstr>
      <vt:lpstr>Deloitte_US_Letter_Print Theme</vt:lpstr>
      <vt:lpstr>Mambu Training Manu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: Mambu Accreditation</dc:title>
  <dc:creator>Nascimento, Marisa Faria</dc:creator>
  <cp:revision>1</cp:revision>
  <dcterms:created xsi:type="dcterms:W3CDTF">2022-03-02T11:26:11Z</dcterms:created>
  <dcterms:modified xsi:type="dcterms:W3CDTF">2022-05-13T09:3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3-02T11:26:1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8954553-e417-43eb-929a-1d7f76006101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AA252FBB7ED8BA4BAFEC7AD83ADFCCDE</vt:lpwstr>
  </property>
</Properties>
</file>